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48" r:id="rId1"/>
  </p:sldMasterIdLst>
  <p:notesMasterIdLst>
    <p:notesMasterId r:id="rId19"/>
  </p:notesMasterIdLst>
  <p:handoutMasterIdLst>
    <p:handoutMasterId r:id="rId20"/>
  </p:handoutMasterIdLst>
  <p:sldIdLst>
    <p:sldId id="332" r:id="rId2"/>
    <p:sldId id="324" r:id="rId3"/>
    <p:sldId id="337" r:id="rId4"/>
    <p:sldId id="340" r:id="rId5"/>
    <p:sldId id="348" r:id="rId6"/>
    <p:sldId id="344" r:id="rId7"/>
    <p:sldId id="345" r:id="rId8"/>
    <p:sldId id="349" r:id="rId9"/>
    <p:sldId id="325" r:id="rId10"/>
    <p:sldId id="342" r:id="rId11"/>
    <p:sldId id="335" r:id="rId12"/>
    <p:sldId id="346" r:id="rId13"/>
    <p:sldId id="336" r:id="rId14"/>
    <p:sldId id="343" r:id="rId15"/>
    <p:sldId id="351" r:id="rId16"/>
    <p:sldId id="326" r:id="rId17"/>
    <p:sldId id="350" r:id="rId18"/>
  </p:sldIdLst>
  <p:sldSz cx="9906000" cy="6858000" type="A4"/>
  <p:notesSz cx="6731000" cy="9855200"/>
  <p:custDataLst>
    <p:tags r:id="rId21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>
          <p15:clr>
            <a:srgbClr val="A4A3A4"/>
          </p15:clr>
        </p15:guide>
        <p15:guide id="2" pos="21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F52"/>
    <a:srgbClr val="AFAFAF"/>
    <a:srgbClr val="D9D9D9"/>
    <a:srgbClr val="006E51"/>
    <a:srgbClr val="A0CE67"/>
    <a:srgbClr val="F24F4F"/>
    <a:srgbClr val="8D909B"/>
    <a:srgbClr val="5CA717"/>
    <a:srgbClr val="000000"/>
    <a:srgbClr val="008A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7143" autoAdjust="0"/>
  </p:normalViewPr>
  <p:slideViewPr>
    <p:cSldViewPr>
      <p:cViewPr varScale="1">
        <p:scale>
          <a:sx n="127" d="100"/>
          <a:sy n="127" d="100"/>
        </p:scale>
        <p:origin x="1018" y="120"/>
      </p:cViewPr>
      <p:guideLst>
        <p:guide orient="horz" pos="2432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>
            <a:extLst>
              <a:ext uri="{FF2B5EF4-FFF2-40B4-BE49-F238E27FC236}">
                <a16:creationId xmlns:a16="http://schemas.microsoft.com/office/drawing/2014/main" id="{F824BCCC-FC18-493E-A3BA-C66CA3B4079E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19" name="Rectangle 3">
            <a:extLst>
              <a:ext uri="{FF2B5EF4-FFF2-40B4-BE49-F238E27FC236}">
                <a16:creationId xmlns:a16="http://schemas.microsoft.com/office/drawing/2014/main" id="{131C04B7-C59F-4B4B-AAA3-B8876DFC5A4C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000" y="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20" name="Rectangle 4">
            <a:extLst>
              <a:ext uri="{FF2B5EF4-FFF2-40B4-BE49-F238E27FC236}">
                <a16:creationId xmlns:a16="http://schemas.microsoft.com/office/drawing/2014/main" id="{9D765E1E-7CAF-44EC-8997-CB01951FC22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2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21" name="Rectangle 5">
            <a:extLst>
              <a:ext uri="{FF2B5EF4-FFF2-40B4-BE49-F238E27FC236}">
                <a16:creationId xmlns:a16="http://schemas.microsoft.com/office/drawing/2014/main" id="{FCB678AA-D969-463F-AC41-C8EEDDEB474D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000" y="9372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CABD01D7-52A5-4832-BD0B-1E7F01F0ECB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607458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E4BCC549-4841-4FE6-B903-A226DF1423C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>
            <a:extLst>
              <a:ext uri="{FF2B5EF4-FFF2-40B4-BE49-F238E27FC236}">
                <a16:creationId xmlns:a16="http://schemas.microsoft.com/office/drawing/2014/main" id="{C26CAE59-A512-4637-A2B9-5DFFE42B2E6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13175" y="0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0" name="Rectangle 4">
            <a:extLst>
              <a:ext uri="{FF2B5EF4-FFF2-40B4-BE49-F238E27FC236}">
                <a16:creationId xmlns:a16="http://schemas.microsoft.com/office/drawing/2014/main" id="{0B635756-37E3-4B53-8A13-5A90CD2FD818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6913" y="739775"/>
            <a:ext cx="5338762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>
            <a:extLst>
              <a:ext uri="{FF2B5EF4-FFF2-40B4-BE49-F238E27FC236}">
                <a16:creationId xmlns:a16="http://schemas.microsoft.com/office/drawing/2014/main" id="{E818421B-1929-4018-85C8-FCC680E1CDF2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1538"/>
            <a:ext cx="5384800" cy="443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41317640-CB53-41F5-8892-231A657207D4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7" name="Rectangle 7">
            <a:extLst>
              <a:ext uri="{FF2B5EF4-FFF2-40B4-BE49-F238E27FC236}">
                <a16:creationId xmlns:a16="http://schemas.microsoft.com/office/drawing/2014/main" id="{C98FCB52-1C88-4E04-8C19-B55F56A07BE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3175" y="9361488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688FE2EE-66F7-43AE-967E-3DB6EEB6F67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034302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Rockwell" pitchFamily="1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987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912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3" name="think-cell Slide" r:id="rId4" imgW="629" imgH="631" progId="TCLayout.ActiveDocument.1">
                  <p:embed/>
                </p:oleObj>
              </mc:Choice>
              <mc:Fallback>
                <p:oleObj name="think-cell Slide" r:id="rId4" imgW="629" imgH="6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7" descr="logo.bmp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93"/>
          <a:stretch>
            <a:fillRect/>
          </a:stretch>
        </p:blipFill>
        <p:spPr bwMode="auto">
          <a:xfrm>
            <a:off x="7905750" y="392113"/>
            <a:ext cx="1584325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6346825"/>
            <a:ext cx="98933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4190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3402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4" name="think-cell Slide" r:id="rId5" imgW="629" imgH="631" progId="TCLayout.ActiveDocument.1">
                  <p:embed/>
                </p:oleObj>
              </mc:Choice>
              <mc:Fallback>
                <p:oleObj name="think-cell Slide" r:id="rId5" imgW="629" imgH="6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33855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79575" y="6641817"/>
            <a:ext cx="137698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Data Science for Business AA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9657203" y="6678751"/>
            <a:ext cx="125034" cy="8617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8313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2603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8" name="think-cell Slide" r:id="rId6" imgW="629" imgH="631" progId="TCLayout.ActiveDocument.1">
                  <p:embed/>
                </p:oleObj>
              </mc:Choice>
              <mc:Fallback>
                <p:oleObj name="think-cell Slide" r:id="rId6" imgW="629" imgH="6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9"/>
          <p:cNvSpPr>
            <a:spLocks noChangeArrowheads="1"/>
          </p:cNvSpPr>
          <p:nvPr userDrawn="1"/>
        </p:nvSpPr>
        <p:spPr bwMode="auto">
          <a:xfrm>
            <a:off x="304800" y="152400"/>
            <a:ext cx="9601200" cy="6553200"/>
          </a:xfrm>
          <a:prstGeom prst="rect">
            <a:avLst/>
          </a:prstGeom>
          <a:noFill/>
          <a:ln w="22225">
            <a:solidFill>
              <a:srgbClr val="5CA717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2" name="Picture 7" descr="logo.bmp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93"/>
          <a:stretch>
            <a:fillRect/>
          </a:stretch>
        </p:blipFill>
        <p:spPr bwMode="auto">
          <a:xfrm>
            <a:off x="8265368" y="274638"/>
            <a:ext cx="1224707" cy="75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218931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8506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ts val="40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00050" indent="-215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2pPr>
      <a:lvl3pPr marL="628650" indent="-227013" algn="l" rtl="0" eaLnBrk="0" fontAlgn="base" hangingPunct="0">
        <a:spcBef>
          <a:spcPct val="20000"/>
        </a:spcBef>
        <a:spcAft>
          <a:spcPts val="40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835025" indent="-20478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1050925" indent="-2143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15081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6pPr>
      <a:lvl7pPr marL="19653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7pPr>
      <a:lvl8pPr marL="24225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8pPr>
      <a:lvl9pPr marL="28797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0.xml"/><Relationship Id="rId11" Type="http://schemas.openxmlformats.org/officeDocument/2006/relationships/image" Target="../media/image14.png"/><Relationship Id="rId5" Type="http://schemas.openxmlformats.org/officeDocument/2006/relationships/tags" Target="../tags/tag69.xml"/><Relationship Id="rId10" Type="http://schemas.openxmlformats.org/officeDocument/2006/relationships/image" Target="../media/image1.emf"/><Relationship Id="rId4" Type="http://schemas.openxmlformats.org/officeDocument/2006/relationships/tags" Target="../tags/tag68.xml"/><Relationship Id="rId9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7.jpe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1.emf"/><Relationship Id="rId17" Type="http://schemas.openxmlformats.org/officeDocument/2006/relationships/slide" Target="slide16.xml"/><Relationship Id="rId2" Type="http://schemas.openxmlformats.org/officeDocument/2006/relationships/tags" Target="../tags/tag72.xml"/><Relationship Id="rId16" Type="http://schemas.openxmlformats.org/officeDocument/2006/relationships/slide" Target="slide1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6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75.xml"/><Relationship Id="rId15" Type="http://schemas.openxmlformats.org/officeDocument/2006/relationships/slide" Target="slide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10" Type="http://schemas.openxmlformats.org/officeDocument/2006/relationships/tags" Target="../tags/tag88.xml"/><Relationship Id="rId19" Type="http://schemas.openxmlformats.org/officeDocument/2006/relationships/image" Target="../media/image1.emf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image" Target="../media/image7.jpe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.emf"/><Relationship Id="rId17" Type="http://schemas.openxmlformats.org/officeDocument/2006/relationships/slide" Target="slide16.xml"/><Relationship Id="rId2" Type="http://schemas.openxmlformats.org/officeDocument/2006/relationships/tags" Target="../tags/tag95.xml"/><Relationship Id="rId16" Type="http://schemas.openxmlformats.org/officeDocument/2006/relationships/slide" Target="slide1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5" Type="http://schemas.openxmlformats.org/officeDocument/2006/relationships/slide" Target="slide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10" Type="http://schemas.openxmlformats.org/officeDocument/2006/relationships/tags" Target="../tags/tag111.xml"/><Relationship Id="rId19" Type="http://schemas.openxmlformats.org/officeDocument/2006/relationships/image" Target="../media/image1.emf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image" Target="../media/image7.jpeg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image" Target="../media/image1.emf"/><Relationship Id="rId17" Type="http://schemas.openxmlformats.org/officeDocument/2006/relationships/slide" Target="slide13.xml"/><Relationship Id="rId2" Type="http://schemas.openxmlformats.org/officeDocument/2006/relationships/tags" Target="../tags/tag126.xml"/><Relationship Id="rId16" Type="http://schemas.openxmlformats.org/officeDocument/2006/relationships/slide" Target="slide1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0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29.xml"/><Relationship Id="rId15" Type="http://schemas.openxmlformats.org/officeDocument/2006/relationships/slide" Target="slide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png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image" Target="../media/image16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8.xml"/><Relationship Id="rId11" Type="http://schemas.openxmlformats.org/officeDocument/2006/relationships/image" Target="../media/image15.png"/><Relationship Id="rId5" Type="http://schemas.openxmlformats.org/officeDocument/2006/relationships/tags" Target="../tags/tag137.xml"/><Relationship Id="rId10" Type="http://schemas.openxmlformats.org/officeDocument/2006/relationships/image" Target="../media/image1.emf"/><Relationship Id="rId4" Type="http://schemas.openxmlformats.org/officeDocument/2006/relationships/tags" Target="../tags/tag136.xml"/><Relationship Id="rId9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7.jpe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17" Type="http://schemas.openxmlformats.org/officeDocument/2006/relationships/slide" Target="slide16.xml"/><Relationship Id="rId2" Type="http://schemas.openxmlformats.org/officeDocument/2006/relationships/tags" Target="../tags/tag7.xml"/><Relationship Id="rId16" Type="http://schemas.openxmlformats.org/officeDocument/2006/relationships/slide" Target="slide13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0.xml"/><Relationship Id="rId15" Type="http://schemas.openxmlformats.org/officeDocument/2006/relationships/slide" Target="slide1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oleObject" Target="../embeddings/oleObject6.bin"/><Relationship Id="rId2" Type="http://schemas.openxmlformats.org/officeDocument/2006/relationships/tags" Target="../tags/tag15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8.png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0.pn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tags" Target="../tags/tag38.xml"/><Relationship Id="rId11" Type="http://schemas.openxmlformats.org/officeDocument/2006/relationships/image" Target="../media/image9.png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image" Target="../media/image11.png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0.xml"/><Relationship Id="rId11" Type="http://schemas.openxmlformats.org/officeDocument/2006/relationships/image" Target="../media/image12.pn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6.xml"/><Relationship Id="rId11" Type="http://schemas.openxmlformats.org/officeDocument/2006/relationships/image" Target="../media/image13.png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7.jpe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17" Type="http://schemas.openxmlformats.org/officeDocument/2006/relationships/slide" Target="slide16.xml"/><Relationship Id="rId2" Type="http://schemas.openxmlformats.org/officeDocument/2006/relationships/tags" Target="../tags/tag58.xml"/><Relationship Id="rId16" Type="http://schemas.openxmlformats.org/officeDocument/2006/relationships/slide" Target="slide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61.xml"/><Relationship Id="rId15" Type="http://schemas.openxmlformats.org/officeDocument/2006/relationships/slide" Target="slide1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418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7" name="think-cell Slide" r:id="rId5" imgW="629" imgH="631" progId="TCLayout.ActiveDocument.1">
                  <p:embed/>
                </p:oleObj>
              </mc:Choice>
              <mc:Fallback>
                <p:oleObj name="think-cell Slide" r:id="rId5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082" name="Picture 2" descr="Image result for credit card default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66"/>
          <a:stretch/>
        </p:blipFill>
        <p:spPr bwMode="auto">
          <a:xfrm>
            <a:off x="344488" y="1268760"/>
            <a:ext cx="9561512" cy="511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FE5D099-38E2-4D1C-B102-27870A239C55}"/>
              </a:ext>
            </a:extLst>
          </p:cNvPr>
          <p:cNvSpPr/>
          <p:nvPr/>
        </p:nvSpPr>
        <p:spPr bwMode="auto">
          <a:xfrm rot="5400000">
            <a:off x="3130488" y="-2099272"/>
            <a:ext cx="3645024" cy="9906000"/>
          </a:xfrm>
          <a:prstGeom prst="rect">
            <a:avLst/>
          </a:prstGeom>
          <a:gradFill flip="none" rotWithShape="1">
            <a:gsLst>
              <a:gs pos="9000">
                <a:schemeClr val="bg1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AD3995-2F2F-4A7B-A646-4CB81AE10A09}"/>
              </a:ext>
            </a:extLst>
          </p:cNvPr>
          <p:cNvSpPr/>
          <p:nvPr/>
        </p:nvSpPr>
        <p:spPr bwMode="auto">
          <a:xfrm rot="5400000">
            <a:off x="4437392" y="-4437392"/>
            <a:ext cx="1031216" cy="990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6411"/>
            <a:ext cx="9909176" cy="51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2288704" cy="6346410"/>
          </a:xfrm>
          <a:prstGeom prst="rect">
            <a:avLst/>
          </a:prstGeom>
          <a:gradFill flip="none" rotWithShape="1">
            <a:gsLst>
              <a:gs pos="9000">
                <a:schemeClr val="bg1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0" y="1431415"/>
            <a:ext cx="6969224" cy="1383004"/>
          </a:xfrm>
          <a:prstGeom prst="rect">
            <a:avLst/>
          </a:prstGeom>
          <a:solidFill>
            <a:srgbClr val="FFFFFF">
              <a:alpha val="74902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207262" y="1491975"/>
            <a:ext cx="9144446" cy="126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en-US" sz="2800" b="1" dirty="0">
                <a:ea typeface="ＭＳ Ｐゴシック" panose="020B0600070205080204" pitchFamily="34" charset="-128"/>
              </a:rPr>
              <a:t>Default of credit card clients</a:t>
            </a:r>
            <a:br>
              <a:rPr lang="en-US" altLang="en-US" sz="2800" b="1" dirty="0">
                <a:ea typeface="ＭＳ Ｐゴシック" panose="020B0600070205080204" pitchFamily="34" charset="-128"/>
              </a:rPr>
            </a:br>
            <a: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Data Science for Business AA</a:t>
            </a:r>
            <a:b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</a:br>
            <a:b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</a:b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Joana Ribeiro |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Miroslav</a:t>
            </a: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 Sala | Ricardo Ferreira | Sara Ricardo |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Slava</a:t>
            </a: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Kholodov</a:t>
            </a:r>
            <a:endParaRPr lang="pt-PT" altLang="en-US" sz="1400" dirty="0">
              <a:solidFill>
                <a:schemeClr val="tx1">
                  <a:lumMod val="50000"/>
                  <a:lumOff val="50000"/>
                </a:schemeClr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4142" name="Picture 46" descr="Resultado de imagem para insea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50" y="359591"/>
            <a:ext cx="1799630" cy="962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69095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7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7416824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488" y="1124744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>
                <a:solidFill>
                  <a:schemeClr val="bg1"/>
                </a:solidFill>
              </a:rPr>
              <a:t>Rpart</a:t>
            </a:r>
            <a:r>
              <a:rPr lang="en-US" sz="1200" b="1" dirty="0">
                <a:solidFill>
                  <a:schemeClr val="bg1"/>
                </a:solidFill>
              </a:rPr>
              <a:t> CART tree with CP = 0.0001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A </a:t>
            </a:r>
            <a:r>
              <a:rPr lang="en-US" dirty="0" err="1"/>
              <a:t>Rpart</a:t>
            </a:r>
            <a:r>
              <a:rPr lang="en-US" dirty="0"/>
              <a:t> CART with CP of 0.0001 is too truncated to be useful in predicting the default probabilit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6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905328" y="1124744"/>
            <a:ext cx="1510010" cy="5285821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oo granular model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ifficult to interpre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Overfit issue </a:t>
            </a:r>
            <a:r>
              <a:rPr lang="en-US" sz="1200" dirty="0"/>
              <a:t>as seen in the summary table, as quality of the prediction drops significantly when comparing the performance on Training vs. Testing se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519DE4-A413-493D-B662-FCA724C2AB9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96616" y="1539633"/>
            <a:ext cx="5028591" cy="2885554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E84A14B-C201-47ED-B507-406B7CAABD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072963"/>
              </p:ext>
            </p:extLst>
          </p:nvPr>
        </p:nvGraphicFramePr>
        <p:xfrm>
          <a:off x="780628" y="4581128"/>
          <a:ext cx="660399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1333">
                  <a:extLst>
                    <a:ext uri="{9D8B030D-6E8A-4147-A177-3AD203B41FA5}">
                      <a16:colId xmlns:a16="http://schemas.microsoft.com/office/drawing/2014/main" val="952340318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788541918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211928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raining set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esting set</a:t>
                      </a:r>
                      <a:endParaRPr lang="en-SG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40076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Accuracy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869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7909</a:t>
                      </a:r>
                      <a:endParaRPr lang="en-SG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620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Sensitivity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9587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9093</a:t>
                      </a:r>
                      <a:endParaRPr lang="en-SG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8701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Specificity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5536</a:t>
                      </a:r>
                      <a:endParaRPr lang="en-SG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200" dirty="0">
                          <a:effectLst/>
                        </a:rPr>
                        <a:t>0.3738</a:t>
                      </a:r>
                      <a:endParaRPr lang="en-SG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472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9831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768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0" name="think-cell Slide" r:id="rId11" imgW="629" imgH="631" progId="TCLayout.ActiveDocument.1">
                  <p:embed/>
                </p:oleObj>
              </mc:Choice>
              <mc:Fallback>
                <p:oleObj name="think-cell Slide" r:id="rId11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33" name="Picture 9" descr="Question 2">
            <a:extLst>
              <a:ext uri="{FF2B5EF4-FFF2-40B4-BE49-F238E27FC236}">
                <a16:creationId xmlns:a16="http://schemas.microsoft.com/office/drawing/2014/main" id="{AD1B7536-C9AD-44A8-AA17-6F4BFE1E1E25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3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questions to address</a:t>
            </a:r>
          </a:p>
        </p:txBody>
      </p:sp>
      <p:sp>
        <p:nvSpPr>
          <p:cNvPr id="12" name="Text Placeholder 2">
            <a:hlinkClick r:id="rId14" action="ppaction://hlinksldjump"/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50" y="2276474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Prediction of likelihood of default</a:t>
            </a:r>
          </a:p>
        </p:txBody>
      </p:sp>
      <p:sp>
        <p:nvSpPr>
          <p:cNvPr id="44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2881313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ing with a high CP parameter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50" y="3486150"/>
            <a:ext cx="6338888" cy="604838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3"/>
            </a:pPr>
            <a:r>
              <a:rPr lang="en-US" altLang="en-US" sz="1800" b="1" dirty="0">
                <a:solidFill>
                  <a:schemeClr val="bg1"/>
                </a:solidFill>
              </a:rPr>
              <a:t>Selection of the best classifier</a:t>
            </a:r>
          </a:p>
        </p:txBody>
      </p:sp>
      <p:sp>
        <p:nvSpPr>
          <p:cNvPr id="50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8449" y="4090988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4"/>
            </a:pPr>
            <a:r>
              <a:rPr lang="en-US" altLang="en-US" sz="1800" dirty="0"/>
              <a:t>Feature engineering</a:t>
            </a:r>
          </a:p>
        </p:txBody>
      </p:sp>
      <p:sp>
        <p:nvSpPr>
          <p:cNvPr id="53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449" y="4695825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5"/>
            </a:pPr>
            <a:r>
              <a:rPr lang="en-US" altLang="en-US" sz="1800" dirty="0"/>
              <a:t>Reflection on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23206779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269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5" name="think-cell Slide" r:id="rId18" imgW="524" imgH="526" progId="TCLayout.ActiveDocument.1">
                  <p:embed/>
                </p:oleObj>
              </mc:Choice>
              <mc:Fallback>
                <p:oleObj name="think-cell Slide" r:id="rId1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70523" y="1052736"/>
            <a:ext cx="7416824" cy="5517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6C3A52B4-E4F4-43A3-BFCB-83DAD0489BD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17145" y="1358765"/>
            <a:ext cx="1291978" cy="5139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endParaRPr lang="en-US" sz="1200" b="1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070523" y="1052736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Prediction of likelihood of defaul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We would choose </a:t>
            </a:r>
            <a:r>
              <a:rPr lang="en-US" dirty="0" err="1"/>
              <a:t>cTree</a:t>
            </a:r>
            <a:r>
              <a:rPr lang="en-US" dirty="0"/>
              <a:t> CART model for our business application as it yields best accuracy </a:t>
            </a:r>
            <a:r>
              <a:rPr lang="en-US"/>
              <a:t>and AUC</a:t>
            </a:r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47AD524-8862-4DE1-B6DB-59E1C9A720B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18654" y="1472246"/>
            <a:ext cx="1891820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200" b="1" dirty="0"/>
              <a:t>Approach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lassify</a:t>
            </a:r>
            <a:r>
              <a:rPr lang="en-US" sz="1200" dirty="0"/>
              <a:t> numerical/integer data into </a:t>
            </a:r>
            <a:r>
              <a:rPr lang="en-US" sz="1200" b="1" dirty="0"/>
              <a:t>categories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Exclude the two IDs to be predicted </a:t>
            </a:r>
            <a:r>
              <a:rPr lang="en-US" sz="1200" dirty="0"/>
              <a:t>(ID 25001 &amp; 26001) 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eate </a:t>
            </a:r>
            <a:r>
              <a:rPr lang="en-US" sz="1200" b="1" dirty="0"/>
              <a:t>testing and training </a:t>
            </a:r>
            <a:r>
              <a:rPr lang="en-US" sz="1200" dirty="0"/>
              <a:t>samples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velop </a:t>
            </a:r>
            <a:r>
              <a:rPr lang="en-US" sz="1200" b="1" dirty="0"/>
              <a:t>forecasting models</a:t>
            </a:r>
            <a:r>
              <a:rPr lang="en-US" sz="1200" dirty="0"/>
              <a:t>: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Stepwise regression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Ctree</a:t>
            </a:r>
            <a:r>
              <a:rPr lang="en-US" sz="1200" b="1" dirty="0"/>
              <a:t> CART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Rpart</a:t>
            </a:r>
            <a:r>
              <a:rPr lang="en-US" sz="1200" b="1" dirty="0"/>
              <a:t> CART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Cut-off</a:t>
            </a:r>
            <a:r>
              <a:rPr lang="en-US" sz="1200" dirty="0"/>
              <a:t> for “default vs. non-default” set as the </a:t>
            </a:r>
            <a:r>
              <a:rPr lang="en-US" sz="1200" b="1" dirty="0"/>
              <a:t>average of data, i.e., 0.2212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mpare models using the </a:t>
            </a:r>
            <a:r>
              <a:rPr lang="en-US" sz="1200" b="1" dirty="0"/>
              <a:t>Confusion Matrix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3513138" y="1342153"/>
            <a:ext cx="1295846" cy="257369"/>
            <a:chOff x="2610882" y="1342153"/>
            <a:chExt cx="4619938" cy="257369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Stepwise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Rectangle 3">
            <a:extLst>
              <a:ext uri="{FF2B5EF4-FFF2-40B4-BE49-F238E27FC236}">
                <a16:creationId xmlns:a16="http://schemas.microsoft.com/office/drawing/2014/main" id="{6C3A52B4-E4F4-43A3-BFCB-83DAD0489BD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361457" y="173154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IC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361457" y="249599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ccurac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4917145" y="1342153"/>
            <a:ext cx="1295846" cy="257369"/>
            <a:chOff x="2610882" y="1342153"/>
            <a:chExt cx="4619938" cy="257369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Ctree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6321152" y="1342153"/>
            <a:ext cx="1295846" cy="257369"/>
            <a:chOff x="2610882" y="1342153"/>
            <a:chExt cx="4619938" cy="257369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Rpart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361457" y="326045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ensitivity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361457" y="402490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pecificity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361457" y="478936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 err="1"/>
              <a:t>AUC</a:t>
            </a:r>
            <a:endParaRPr lang="en-US" sz="1200" b="1" dirty="0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361457" y="5697834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Prediction</a:t>
            </a: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3512840" y="245551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/>
        </p:nvCxnSpPr>
        <p:spPr bwMode="auto">
          <a:xfrm>
            <a:off x="3512840" y="321997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3512840" y="398442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3512840" y="474888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3512840" y="5589240"/>
            <a:ext cx="410415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4. Footnote"/>
          <p:cNvSpPr txBox="1"/>
          <p:nvPr/>
        </p:nvSpPr>
        <p:spPr>
          <a:xfrm>
            <a:off x="418654" y="6521082"/>
            <a:ext cx="95250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1 CP = 0,0025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2 CP = 0,00068</a:t>
            </a:r>
          </a:p>
        </p:txBody>
      </p:sp>
      <p:sp>
        <p:nvSpPr>
          <p:cNvPr id="58" name="Pentagon 57"/>
          <p:cNvSpPr/>
          <p:nvPr/>
        </p:nvSpPr>
        <p:spPr bwMode="auto">
          <a:xfrm>
            <a:off x="7758183" y="2381980"/>
            <a:ext cx="200280" cy="3187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128393" y="2043992"/>
            <a:ext cx="1347537" cy="40359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/>
              <a:t>Ctree</a:t>
            </a:r>
            <a:r>
              <a:rPr lang="en-US" sz="1200" b="1" dirty="0"/>
              <a:t> CART model is the one with the most reliable prediction given:</a:t>
            </a:r>
          </a:p>
          <a:p>
            <a:pPr marL="388937" lvl="1" indent="-1714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Higher accuracy</a:t>
            </a:r>
          </a:p>
          <a:p>
            <a:pPr marL="388937" lvl="1" indent="-1714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Higher AUC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Higher speed </a:t>
            </a:r>
            <a:r>
              <a:rPr lang="en-US" sz="1200" dirty="0"/>
              <a:t>of the </a:t>
            </a:r>
            <a:r>
              <a:rPr lang="en-US" sz="1200" dirty="0" err="1"/>
              <a:t>CTREE</a:t>
            </a:r>
            <a:r>
              <a:rPr lang="en-US" sz="1200" dirty="0"/>
              <a:t> algorithm vs the logit regression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en-US" sz="1200" dirty="0"/>
              <a:t>Though</a:t>
            </a:r>
            <a:r>
              <a:rPr lang="en-US" sz="1200" b="1" dirty="0"/>
              <a:t> interpretation</a:t>
            </a:r>
            <a:r>
              <a:rPr lang="en-US" sz="1200" dirty="0"/>
              <a:t> is  </a:t>
            </a:r>
            <a:r>
              <a:rPr lang="en-US" sz="1200" b="1" dirty="0"/>
              <a:t>less user friendly </a:t>
            </a:r>
            <a:r>
              <a:rPr lang="en-US" sz="1200" dirty="0"/>
              <a:t>vs the Logit regression models </a:t>
            </a:r>
          </a:p>
        </p:txBody>
      </p:sp>
      <p:sp>
        <p:nvSpPr>
          <p:cNvPr id="60" name="Oval 59"/>
          <p:cNvSpPr/>
          <p:nvPr/>
        </p:nvSpPr>
        <p:spPr bwMode="auto">
          <a:xfrm>
            <a:off x="3765017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1795</a:t>
            </a:r>
          </a:p>
        </p:txBody>
      </p:sp>
      <p:sp>
        <p:nvSpPr>
          <p:cNvPr id="61" name="Oval 60"/>
          <p:cNvSpPr/>
          <p:nvPr/>
        </p:nvSpPr>
        <p:spPr bwMode="auto">
          <a:xfrm>
            <a:off x="5168875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6574326" y="205956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3765017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9</a:t>
            </a:r>
          </a:p>
        </p:txBody>
      </p:sp>
      <p:sp>
        <p:nvSpPr>
          <p:cNvPr id="64" name="Oval 63"/>
          <p:cNvSpPr/>
          <p:nvPr/>
        </p:nvSpPr>
        <p:spPr bwMode="auto">
          <a:xfrm>
            <a:off x="5168875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9</a:t>
            </a:r>
          </a:p>
        </p:txBody>
      </p:sp>
      <p:sp>
        <p:nvSpPr>
          <p:cNvPr id="65" name="Oval 64"/>
          <p:cNvSpPr/>
          <p:nvPr/>
        </p:nvSpPr>
        <p:spPr bwMode="auto">
          <a:xfrm>
            <a:off x="3765017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34</a:t>
            </a:r>
          </a:p>
        </p:txBody>
      </p:sp>
      <p:sp>
        <p:nvSpPr>
          <p:cNvPr id="66" name="Oval 65"/>
          <p:cNvSpPr/>
          <p:nvPr/>
        </p:nvSpPr>
        <p:spPr bwMode="auto">
          <a:xfrm>
            <a:off x="5168875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3</a:t>
            </a:r>
          </a:p>
        </p:txBody>
      </p:sp>
      <p:sp>
        <p:nvSpPr>
          <p:cNvPr id="67" name="Oval 66"/>
          <p:cNvSpPr/>
          <p:nvPr/>
        </p:nvSpPr>
        <p:spPr bwMode="auto">
          <a:xfrm>
            <a:off x="3765017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584</a:t>
            </a:r>
          </a:p>
        </p:txBody>
      </p:sp>
      <p:sp>
        <p:nvSpPr>
          <p:cNvPr id="68" name="Oval 67"/>
          <p:cNvSpPr/>
          <p:nvPr/>
        </p:nvSpPr>
        <p:spPr bwMode="auto">
          <a:xfrm>
            <a:off x="5168875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48</a:t>
            </a:r>
          </a:p>
        </p:txBody>
      </p:sp>
      <p:sp>
        <p:nvSpPr>
          <p:cNvPr id="69" name="Oval 68"/>
          <p:cNvSpPr/>
          <p:nvPr/>
        </p:nvSpPr>
        <p:spPr bwMode="auto">
          <a:xfrm>
            <a:off x="3765017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1</a:t>
            </a:r>
          </a:p>
        </p:txBody>
      </p:sp>
      <p:sp>
        <p:nvSpPr>
          <p:cNvPr id="70" name="Oval 69"/>
          <p:cNvSpPr/>
          <p:nvPr/>
        </p:nvSpPr>
        <p:spPr bwMode="auto">
          <a:xfrm>
            <a:off x="5168875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3</a:t>
            </a:r>
          </a:p>
        </p:txBody>
      </p:sp>
      <p:sp>
        <p:nvSpPr>
          <p:cNvPr id="71" name="Rounded Rectangle 70"/>
          <p:cNvSpPr/>
          <p:nvPr/>
        </p:nvSpPr>
        <p:spPr bwMode="auto">
          <a:xfrm>
            <a:off x="3512840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12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14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4916847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21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20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Rounded Rectangle 72"/>
          <p:cNvSpPr/>
          <p:nvPr/>
        </p:nvSpPr>
        <p:spPr bwMode="auto">
          <a:xfrm>
            <a:off x="6320854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 &amp; 26001 0.17</a:t>
            </a:r>
            <a:r>
              <a:rPr kumimoji="0" lang="en-US" sz="1200" b="0" i="0" u="none" strike="noStrike" cap="none" normalizeH="0" baseline="3000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/ 0.14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Oval 73"/>
          <p:cNvSpPr/>
          <p:nvPr/>
        </p:nvSpPr>
        <p:spPr bwMode="auto">
          <a:xfrm>
            <a:off x="6574326" y="1772816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3000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Oval 74"/>
          <p:cNvSpPr/>
          <p:nvPr/>
        </p:nvSpPr>
        <p:spPr bwMode="auto">
          <a:xfrm>
            <a:off x="6574326" y="2822333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9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6" name="Oval 75"/>
          <p:cNvSpPr/>
          <p:nvPr/>
        </p:nvSpPr>
        <p:spPr bwMode="auto">
          <a:xfrm>
            <a:off x="6574326" y="253558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6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1" name="Oval 100"/>
          <p:cNvSpPr/>
          <p:nvPr/>
        </p:nvSpPr>
        <p:spPr bwMode="auto">
          <a:xfrm>
            <a:off x="6574326" y="361351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" name="Oval 101"/>
          <p:cNvSpPr/>
          <p:nvPr/>
        </p:nvSpPr>
        <p:spPr bwMode="auto">
          <a:xfrm>
            <a:off x="6574326" y="3326764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3" name="Oval 102"/>
          <p:cNvSpPr/>
          <p:nvPr/>
        </p:nvSpPr>
        <p:spPr bwMode="auto">
          <a:xfrm>
            <a:off x="6574326" y="434219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31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4" name="Oval 103"/>
          <p:cNvSpPr/>
          <p:nvPr/>
        </p:nvSpPr>
        <p:spPr bwMode="auto">
          <a:xfrm>
            <a:off x="6574326" y="405544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19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5" name="Oval 104"/>
          <p:cNvSpPr/>
          <p:nvPr/>
        </p:nvSpPr>
        <p:spPr bwMode="auto">
          <a:xfrm>
            <a:off x="6574326" y="515002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67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6" name="Oval 105"/>
          <p:cNvSpPr/>
          <p:nvPr/>
        </p:nvSpPr>
        <p:spPr bwMode="auto">
          <a:xfrm>
            <a:off x="6574326" y="4863279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638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4" name="sticker">
            <a:extLst>
              <a:ext uri="{FF2B5EF4-FFF2-40B4-BE49-F238E27FC236}">
                <a16:creationId xmlns:a16="http://schemas.microsoft.com/office/drawing/2014/main" id="{C67C834D-54A7-4204-9CAA-E5FEA24FB92F}"/>
              </a:ext>
            </a:extLst>
          </p:cNvPr>
          <p:cNvGrpSpPr/>
          <p:nvPr/>
        </p:nvGrpSpPr>
        <p:grpSpPr>
          <a:xfrm>
            <a:off x="7987841" y="1389208"/>
            <a:ext cx="1409040" cy="333425"/>
            <a:chOff x="8242960" y="254000"/>
            <a:chExt cx="1409040" cy="333425"/>
          </a:xfrm>
        </p:grpSpPr>
        <p:sp>
          <p:nvSpPr>
            <p:cNvPr id="9" name="StickerRectangle">
              <a:extLst>
                <a:ext uri="{FF2B5EF4-FFF2-40B4-BE49-F238E27FC236}">
                  <a16:creationId xmlns:a16="http://schemas.microsoft.com/office/drawing/2014/main" id="{35F3423C-D373-4E56-8C1B-A3BF9A18110A}"/>
                </a:ext>
              </a:extLst>
            </p:cNvPr>
            <p:cNvSpPr/>
            <p:nvPr/>
          </p:nvSpPr>
          <p:spPr bwMode="auto">
            <a:xfrm>
              <a:off x="8242960" y="254000"/>
              <a:ext cx="1409040" cy="333425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38100" tIns="0" rIns="0" bIns="254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PT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charset="0"/>
                </a:rPr>
                <a:t>REMINDER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2C9A46D3-8464-47E2-AC56-15035C37E3CF}"/>
                </a:ext>
              </a:extLst>
            </p:cNvPr>
            <p:cNvCxnSpPr>
              <a:stCxn id="9" idx="6"/>
              <a:endCxn id="9" idx="4"/>
            </p:cNvCxnSpPr>
            <p:nvPr/>
          </p:nvCxnSpPr>
          <p:spPr bwMode="auto">
            <a:xfrm flipH="1">
              <a:off x="8242960" y="587425"/>
              <a:ext cx="1409040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0142C472-4AAD-4D93-9B10-AB6C8664EA48}"/>
                </a:ext>
              </a:extLst>
            </p:cNvPr>
            <p:cNvCxnSpPr>
              <a:stCxn id="9" idx="2"/>
              <a:endCxn id="9" idx="4"/>
            </p:cNvCxnSpPr>
            <p:nvPr/>
          </p:nvCxnSpPr>
          <p:spPr bwMode="auto">
            <a:xfrm>
              <a:off x="8242960" y="254000"/>
              <a:ext cx="0" cy="333425"/>
            </a:xfrm>
            <a:prstGeom prst="straightConnector1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77886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429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4" name="think-cell Slide" r:id="rId11" imgW="629" imgH="631" progId="TCLayout.ActiveDocument.1">
                  <p:embed/>
                </p:oleObj>
              </mc:Choice>
              <mc:Fallback>
                <p:oleObj name="think-cell Slide" r:id="rId11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33" name="Picture 9" descr="Question 2">
            <a:extLst>
              <a:ext uri="{FF2B5EF4-FFF2-40B4-BE49-F238E27FC236}">
                <a16:creationId xmlns:a16="http://schemas.microsoft.com/office/drawing/2014/main" id="{AD1B7536-C9AD-44A8-AA17-6F4BFE1E1E25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3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questions to address</a:t>
            </a:r>
          </a:p>
        </p:txBody>
      </p:sp>
      <p:sp>
        <p:nvSpPr>
          <p:cNvPr id="12" name="Text Placeholder 2">
            <a:hlinkClick r:id="rId14" action="ppaction://hlinksldjump"/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6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Prediction of likelihood of default</a:t>
            </a:r>
          </a:p>
        </p:txBody>
      </p:sp>
      <p:sp>
        <p:nvSpPr>
          <p:cNvPr id="44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2881313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ing with a high CP parameter</a:t>
            </a:r>
          </a:p>
        </p:txBody>
      </p:sp>
      <p:sp>
        <p:nvSpPr>
          <p:cNvPr id="14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41230E12-41FB-427A-8515-C70BFBC873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50" y="3486150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Selection of the best classifier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8449" y="4090988"/>
            <a:ext cx="6338888" cy="604838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4"/>
            </a:pPr>
            <a:r>
              <a:rPr lang="en-US" altLang="en-US" sz="1800" b="1" dirty="0">
                <a:solidFill>
                  <a:schemeClr val="bg1"/>
                </a:solidFill>
              </a:rPr>
              <a:t>Feature engineering</a:t>
            </a:r>
          </a:p>
        </p:txBody>
      </p:sp>
      <p:sp>
        <p:nvSpPr>
          <p:cNvPr id="53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449" y="4695825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5"/>
            </a:pPr>
            <a:r>
              <a:rPr lang="en-US" altLang="en-US" sz="1800" dirty="0"/>
              <a:t>Reflection on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26866052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114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65" name="think-cell Slide" r:id="rId18" imgW="524" imgH="526" progId="TCLayout.ActiveDocument.1">
                  <p:embed/>
                </p:oleObj>
              </mc:Choice>
              <mc:Fallback>
                <p:oleObj name="think-cell Slide" r:id="rId1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70523" y="1052736"/>
            <a:ext cx="7416824" cy="5517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70523" y="1052736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Prediction of likelihood of default</a:t>
            </a:r>
          </a:p>
        </p:txBody>
      </p:sp>
      <p:sp>
        <p:nvSpPr>
          <p:cNvPr id="70" name="Rounded Rectangle 56">
            <a:extLst>
              <a:ext uri="{FF2B5EF4-FFF2-40B4-BE49-F238E27FC236}">
                <a16:creationId xmlns:a16="http://schemas.microsoft.com/office/drawing/2014/main" id="{1736BCE9-22D9-48AA-9482-097EB9E7BE94}"/>
              </a:ext>
            </a:extLst>
          </p:cNvPr>
          <p:cNvSpPr/>
          <p:nvPr/>
        </p:nvSpPr>
        <p:spPr bwMode="auto">
          <a:xfrm>
            <a:off x="4916847" y="3260451"/>
            <a:ext cx="1296144" cy="6834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Rounded Rectangle 56">
            <a:extLst>
              <a:ext uri="{FF2B5EF4-FFF2-40B4-BE49-F238E27FC236}">
                <a16:creationId xmlns:a16="http://schemas.microsoft.com/office/drawing/2014/main" id="{1F6D137D-1132-4878-976B-17ACDE0254FB}"/>
              </a:ext>
            </a:extLst>
          </p:cNvPr>
          <p:cNvSpPr/>
          <p:nvPr/>
        </p:nvSpPr>
        <p:spPr bwMode="auto">
          <a:xfrm>
            <a:off x="4916847" y="2495996"/>
            <a:ext cx="1296144" cy="6834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Rounded Rectangle 56">
            <a:extLst>
              <a:ext uri="{FF2B5EF4-FFF2-40B4-BE49-F238E27FC236}">
                <a16:creationId xmlns:a16="http://schemas.microsoft.com/office/drawing/2014/main" id="{E103723C-0F95-47E7-A45F-91B74FFB9FDE}"/>
              </a:ext>
            </a:extLst>
          </p:cNvPr>
          <p:cNvSpPr/>
          <p:nvPr/>
        </p:nvSpPr>
        <p:spPr bwMode="auto">
          <a:xfrm>
            <a:off x="4916847" y="4024906"/>
            <a:ext cx="1296144" cy="6834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Rounded Rectangle 56">
            <a:extLst>
              <a:ext uri="{FF2B5EF4-FFF2-40B4-BE49-F238E27FC236}">
                <a16:creationId xmlns:a16="http://schemas.microsoft.com/office/drawing/2014/main" id="{094977BE-61FB-455E-8AAA-8F63F6D72A9C}"/>
              </a:ext>
            </a:extLst>
          </p:cNvPr>
          <p:cNvSpPr/>
          <p:nvPr/>
        </p:nvSpPr>
        <p:spPr bwMode="auto">
          <a:xfrm>
            <a:off x="3512840" y="4789361"/>
            <a:ext cx="1296144" cy="6834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New variables where included to increase the prediction power of the models…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47AD524-8862-4DE1-B6DB-59E1C9A720B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18654" y="1472246"/>
            <a:ext cx="1891820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200" b="1" dirty="0"/>
              <a:t>New variables included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payment</a:t>
            </a:r>
            <a:r>
              <a:rPr lang="en-US" sz="1200" dirty="0"/>
              <a:t> = </a:t>
            </a:r>
            <a:r>
              <a:rPr lang="en-US" sz="1200" dirty="0" err="1"/>
              <a:t>PAY_mt</a:t>
            </a:r>
            <a:r>
              <a:rPr lang="en-US" sz="1200" dirty="0"/>
              <a:t> / </a:t>
            </a:r>
            <a:r>
              <a:rPr lang="en-US" sz="1200" dirty="0" err="1"/>
              <a:t>BILLED_AMT</a:t>
            </a:r>
            <a:endParaRPr lang="en-US" sz="1200" dirty="0"/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Percentage usage </a:t>
            </a:r>
            <a:r>
              <a:rPr lang="en-US" sz="1200" dirty="0"/>
              <a:t>= </a:t>
            </a:r>
            <a:r>
              <a:rPr lang="en-US" sz="1200" dirty="0" err="1"/>
              <a:t>BILLED_AMT</a:t>
            </a:r>
            <a:r>
              <a:rPr lang="en-US" sz="1200" dirty="0"/>
              <a:t> / </a:t>
            </a:r>
            <a:r>
              <a:rPr lang="en-US" sz="1200" dirty="0" err="1"/>
              <a:t>LIMIT_MAX</a:t>
            </a:r>
            <a:endParaRPr lang="en-US" sz="1200" dirty="0"/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Number of months over limit</a:t>
            </a:r>
            <a:r>
              <a:rPr lang="en-US" sz="1200" dirty="0"/>
              <a:t> = Count of months where </a:t>
            </a:r>
            <a:r>
              <a:rPr lang="en-US" sz="1200" dirty="0" err="1"/>
              <a:t>AMT_BILLED</a:t>
            </a:r>
            <a:r>
              <a:rPr lang="en-US" sz="1200" dirty="0"/>
              <a:t> &gt; </a:t>
            </a:r>
            <a:r>
              <a:rPr lang="en-US" sz="1200" dirty="0" err="1"/>
              <a:t>LIMIT_MAX</a:t>
            </a:r>
            <a:endParaRPr lang="en-US" sz="1200" dirty="0"/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Number of months not fully repaid</a:t>
            </a:r>
            <a:r>
              <a:rPr lang="en-US" sz="1200" dirty="0"/>
              <a:t> = Count of months where AMT_PAID</a:t>
            </a:r>
            <a:r>
              <a:rPr lang="en-US" sz="1200" baseline="-25000" dirty="0"/>
              <a:t>t+1</a:t>
            </a:r>
            <a:r>
              <a:rPr lang="en-US" sz="1200" dirty="0"/>
              <a:t> – </a:t>
            </a:r>
            <a:r>
              <a:rPr lang="en-US" sz="1200" dirty="0" err="1"/>
              <a:t>AMT_BILLED</a:t>
            </a:r>
            <a:r>
              <a:rPr lang="en-US" sz="1200" baseline="-25000" dirty="0" err="1"/>
              <a:t>t</a:t>
            </a:r>
            <a:r>
              <a:rPr lang="en-US" sz="1200" dirty="0"/>
              <a:t> &lt; 0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Delta in credit outstanding (1, 2 and 3 months</a:t>
            </a:r>
            <a:br>
              <a:rPr lang="en-US" sz="1200" b="1" dirty="0"/>
            </a:br>
            <a:r>
              <a:rPr lang="en-US" sz="1200" dirty="0" err="1"/>
              <a:t>BILL_AMT</a:t>
            </a:r>
            <a:r>
              <a:rPr lang="en-US" sz="1200" baseline="-25000" dirty="0" err="1"/>
              <a:t>t</a:t>
            </a:r>
            <a:r>
              <a:rPr lang="en-US" sz="1200" dirty="0"/>
              <a:t> - BILL_AMT</a:t>
            </a:r>
            <a:r>
              <a:rPr lang="en-US" sz="1200" baseline="-25000" dirty="0"/>
              <a:t>t-1/t-2/t-3</a:t>
            </a:r>
            <a:endParaRPr lang="en-US" sz="12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3513138" y="1342153"/>
            <a:ext cx="1295846" cy="257369"/>
            <a:chOff x="2610882" y="1342153"/>
            <a:chExt cx="4619938" cy="257369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Stepwise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Rectangle 3">
            <a:extLst>
              <a:ext uri="{FF2B5EF4-FFF2-40B4-BE49-F238E27FC236}">
                <a16:creationId xmlns:a16="http://schemas.microsoft.com/office/drawing/2014/main" id="{6C3A52B4-E4F4-43A3-BFCB-83DAD0489B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361457" y="173154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IC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61457" y="249599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ccurac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4917145" y="1342153"/>
            <a:ext cx="1295846" cy="257369"/>
            <a:chOff x="2610882" y="1342153"/>
            <a:chExt cx="4619938" cy="257369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Ctree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6321152" y="1342153"/>
            <a:ext cx="1295846" cy="257369"/>
            <a:chOff x="2610882" y="1342153"/>
            <a:chExt cx="4619938" cy="257369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Rpart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361457" y="326045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ensitivity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361457" y="402490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pecificity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361457" y="478936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 err="1"/>
              <a:t>AUC</a:t>
            </a:r>
            <a:endParaRPr lang="en-US" sz="1200" b="1" dirty="0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361457" y="5697834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Prediction</a:t>
            </a: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3512840" y="245551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/>
        </p:nvCxnSpPr>
        <p:spPr bwMode="auto">
          <a:xfrm>
            <a:off x="3512840" y="321997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3512840" y="398442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3512840" y="474888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3512840" y="5589240"/>
            <a:ext cx="410415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TextBox 51"/>
          <p:cNvSpPr txBox="1"/>
          <p:nvPr>
            <p:custDataLst>
              <p:tags r:id="rId13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sp>
        <p:nvSpPr>
          <p:cNvPr id="54" name="Pentagon 53"/>
          <p:cNvSpPr/>
          <p:nvPr/>
        </p:nvSpPr>
        <p:spPr bwMode="auto">
          <a:xfrm>
            <a:off x="7768250" y="1875555"/>
            <a:ext cx="216024" cy="4217739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Oval 37"/>
          <p:cNvSpPr/>
          <p:nvPr/>
        </p:nvSpPr>
        <p:spPr bwMode="auto">
          <a:xfrm>
            <a:off x="3765017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21,816</a:t>
            </a:r>
          </a:p>
        </p:txBody>
      </p:sp>
      <p:sp>
        <p:nvSpPr>
          <p:cNvPr id="39" name="Oval 38"/>
          <p:cNvSpPr/>
          <p:nvPr/>
        </p:nvSpPr>
        <p:spPr bwMode="auto">
          <a:xfrm>
            <a:off x="5168875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Oval 40"/>
          <p:cNvSpPr/>
          <p:nvPr/>
        </p:nvSpPr>
        <p:spPr bwMode="auto">
          <a:xfrm>
            <a:off x="6574326" y="205956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n.a.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3765017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34</a:t>
            </a:r>
          </a:p>
        </p:txBody>
      </p:sp>
      <p:sp>
        <p:nvSpPr>
          <p:cNvPr id="43" name="Oval 42"/>
          <p:cNvSpPr/>
          <p:nvPr/>
        </p:nvSpPr>
        <p:spPr bwMode="auto">
          <a:xfrm>
            <a:off x="5168875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75</a:t>
            </a:r>
          </a:p>
        </p:txBody>
      </p:sp>
      <p:sp>
        <p:nvSpPr>
          <p:cNvPr id="47" name="Oval 46"/>
          <p:cNvSpPr/>
          <p:nvPr/>
        </p:nvSpPr>
        <p:spPr bwMode="auto">
          <a:xfrm>
            <a:off x="3765017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286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5168875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20</a:t>
            </a:r>
          </a:p>
        </p:txBody>
      </p:sp>
      <p:sp>
        <p:nvSpPr>
          <p:cNvPr id="49" name="Oval 48"/>
          <p:cNvSpPr/>
          <p:nvPr/>
        </p:nvSpPr>
        <p:spPr bwMode="auto">
          <a:xfrm>
            <a:off x="3765017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5792</a:t>
            </a:r>
          </a:p>
        </p:txBody>
      </p:sp>
      <p:sp>
        <p:nvSpPr>
          <p:cNvPr id="50" name="Oval 49"/>
          <p:cNvSpPr/>
          <p:nvPr/>
        </p:nvSpPr>
        <p:spPr bwMode="auto">
          <a:xfrm>
            <a:off x="5168875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439</a:t>
            </a:r>
          </a:p>
        </p:txBody>
      </p:sp>
      <p:sp>
        <p:nvSpPr>
          <p:cNvPr id="51" name="Oval 50"/>
          <p:cNvSpPr/>
          <p:nvPr/>
        </p:nvSpPr>
        <p:spPr bwMode="auto">
          <a:xfrm>
            <a:off x="3765017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20</a:t>
            </a:r>
          </a:p>
        </p:txBody>
      </p:sp>
      <p:sp>
        <p:nvSpPr>
          <p:cNvPr id="53" name="Oval 52"/>
          <p:cNvSpPr/>
          <p:nvPr/>
        </p:nvSpPr>
        <p:spPr bwMode="auto">
          <a:xfrm>
            <a:off x="5168875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660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>
            <a:off x="3512840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12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13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Rounded Rectangle 56"/>
          <p:cNvSpPr/>
          <p:nvPr/>
        </p:nvSpPr>
        <p:spPr bwMode="auto">
          <a:xfrm>
            <a:off x="4916847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19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19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>
            <a:off x="6320854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5001 &amp; 26001 0.1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/ 0.13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tx1"/>
                </a:solidFill>
                <a:latin typeface="Arial" charset="0"/>
              </a:rPr>
              <a:t>No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Oval 58"/>
          <p:cNvSpPr/>
          <p:nvPr/>
        </p:nvSpPr>
        <p:spPr bwMode="auto">
          <a:xfrm>
            <a:off x="6574326" y="1772816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n.a.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3000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Oval 59"/>
          <p:cNvSpPr/>
          <p:nvPr/>
        </p:nvSpPr>
        <p:spPr bwMode="auto">
          <a:xfrm>
            <a:off x="6574326" y="2822333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41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6574326" y="253558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55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6574326" y="361351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14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6574326" y="3326764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66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Oval 63"/>
          <p:cNvSpPr/>
          <p:nvPr/>
        </p:nvSpPr>
        <p:spPr bwMode="auto">
          <a:xfrm>
            <a:off x="6574326" y="434219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303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5" name="Oval 64"/>
          <p:cNvSpPr/>
          <p:nvPr/>
        </p:nvSpPr>
        <p:spPr bwMode="auto">
          <a:xfrm>
            <a:off x="6574326" y="405544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186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Oval 65"/>
          <p:cNvSpPr/>
          <p:nvPr/>
        </p:nvSpPr>
        <p:spPr bwMode="auto">
          <a:xfrm>
            <a:off x="6574326" y="515002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011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7" name="Oval 66"/>
          <p:cNvSpPr/>
          <p:nvPr/>
        </p:nvSpPr>
        <p:spPr bwMode="auto">
          <a:xfrm>
            <a:off x="6574326" y="4863279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6376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049344" y="2852936"/>
            <a:ext cx="1347537" cy="230832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/>
              <a:t>cTree</a:t>
            </a:r>
            <a:r>
              <a:rPr lang="en-US" sz="1200" b="1" dirty="0"/>
              <a:t> CART continues to be the model with the most reliable prediction given its (slightly) higher accuracy, despite its lower AUC vs. stepwise</a:t>
            </a:r>
            <a:endParaRPr lang="en-US" sz="1200" dirty="0"/>
          </a:p>
        </p:txBody>
      </p:sp>
      <p:sp>
        <p:nvSpPr>
          <p:cNvPr id="69" name="4. Footnote"/>
          <p:cNvSpPr txBox="1"/>
          <p:nvPr/>
        </p:nvSpPr>
        <p:spPr>
          <a:xfrm>
            <a:off x="418654" y="6521082"/>
            <a:ext cx="95250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1 CP = 0,0025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2 CP = 0,00068</a:t>
            </a:r>
          </a:p>
        </p:txBody>
      </p:sp>
    </p:spTree>
    <p:extLst>
      <p:ext uri="{BB962C8B-B14F-4D97-AF65-F5344CB8AC3E}">
        <p14:creationId xmlns:p14="http://schemas.microsoft.com/office/powerpoint/2010/main" val="40712449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6F417-3EDC-4A34-BD41-D7B6F25D5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4500"/>
            <a:r>
              <a:rPr lang="en-US" dirty="0"/>
              <a:t>…but the impact of the new variables did not improve the prediction power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F67FC9BD-F70F-4A37-9622-161C565ECAA8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2A65554-91ED-4E54-857B-6155BA6B0B99}"/>
              </a:ext>
            </a:extLst>
          </p:cNvPr>
          <p:cNvGrpSpPr/>
          <p:nvPr/>
        </p:nvGrpSpPr>
        <p:grpSpPr>
          <a:xfrm>
            <a:off x="2828084" y="1260940"/>
            <a:ext cx="1897248" cy="317676"/>
            <a:chOff x="2610882" y="1342153"/>
            <a:chExt cx="4619938" cy="257369"/>
          </a:xfrm>
        </p:grpSpPr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CBDFBF49-7E1D-41A2-BDA8-F61FD5DB9165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600" b="1" dirty="0"/>
                <a:t>Stepwise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85C1CD8-6F05-4ED8-8321-383550C01CA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" name="Rectangle 3">
            <a:extLst>
              <a:ext uri="{FF2B5EF4-FFF2-40B4-BE49-F238E27FC236}">
                <a16:creationId xmlns:a16="http://schemas.microsoft.com/office/drawing/2014/main" id="{5D5F8AB4-33FC-46EE-AECE-DBDAB094045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141908" y="1741570"/>
            <a:ext cx="1580313" cy="84365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600" b="1" dirty="0"/>
              <a:t>AIC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5A6D74A-53A4-48DA-BA30-ED668244250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41908" y="2685152"/>
            <a:ext cx="1580313" cy="84365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600" b="1" dirty="0"/>
              <a:t>Accuracy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38DB5F-3E18-49E2-8F51-33616A011042}"/>
              </a:ext>
            </a:extLst>
          </p:cNvPr>
          <p:cNvGrpSpPr/>
          <p:nvPr/>
        </p:nvGrpSpPr>
        <p:grpSpPr>
          <a:xfrm>
            <a:off x="4883691" y="1260940"/>
            <a:ext cx="1897248" cy="317676"/>
            <a:chOff x="2610882" y="1342153"/>
            <a:chExt cx="4619938" cy="257369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84B63CF8-B0F8-4E5F-B9A4-2F9A5AAD3F36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600" b="1" dirty="0" err="1"/>
                <a:t>Ctree</a:t>
              </a:r>
              <a:r>
                <a:rPr lang="en-US" sz="1600" b="1" dirty="0"/>
                <a:t> CART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7BB42E0-8A6B-482E-A056-06734DAC153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60E54C7-AAF5-49EF-9511-B8377E94D626}"/>
              </a:ext>
            </a:extLst>
          </p:cNvPr>
          <p:cNvGrpSpPr/>
          <p:nvPr/>
        </p:nvGrpSpPr>
        <p:grpSpPr>
          <a:xfrm>
            <a:off x="6939299" y="1260940"/>
            <a:ext cx="1897248" cy="317676"/>
            <a:chOff x="2610882" y="1342153"/>
            <a:chExt cx="4619938" cy="257369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C53487CE-4CD1-4E61-9257-1E7E66A4EC16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600" b="1" dirty="0" err="1"/>
                <a:t>Rpart</a:t>
              </a:r>
              <a:r>
                <a:rPr lang="en-US" sz="1600" b="1" dirty="0"/>
                <a:t> CART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06A6B9D-26AE-4DAF-9D9F-168504FBC24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Rectangle 3">
            <a:extLst>
              <a:ext uri="{FF2B5EF4-FFF2-40B4-BE49-F238E27FC236}">
                <a16:creationId xmlns:a16="http://schemas.microsoft.com/office/drawing/2014/main" id="{FAC6BA8C-EBB9-4596-8268-BA1E8306826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41908" y="3628735"/>
            <a:ext cx="1580313" cy="84365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600" b="1" dirty="0"/>
              <a:t>Sensitivity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874F8372-13F5-4CC2-B33B-88431A29381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41908" y="4572318"/>
            <a:ext cx="1580313" cy="84365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600" b="1" dirty="0"/>
              <a:t>Specificity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8AA3D5AE-2579-4B73-B2E5-74D6B79F34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41908" y="5515900"/>
            <a:ext cx="1580313" cy="84365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600" b="1" dirty="0" err="1"/>
              <a:t>AUC</a:t>
            </a:r>
            <a:endParaRPr lang="en-US" sz="1600" b="1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6107DD2-FABF-4B91-BBD2-BFFF5C284285}"/>
              </a:ext>
            </a:extLst>
          </p:cNvPr>
          <p:cNvCxnSpPr/>
          <p:nvPr/>
        </p:nvCxnSpPr>
        <p:spPr bwMode="auto">
          <a:xfrm>
            <a:off x="2827648" y="2635186"/>
            <a:ext cx="6008899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587217-AA10-4CDE-AEC3-C901AAFA9256}"/>
              </a:ext>
            </a:extLst>
          </p:cNvPr>
          <p:cNvCxnSpPr/>
          <p:nvPr/>
        </p:nvCxnSpPr>
        <p:spPr bwMode="auto">
          <a:xfrm>
            <a:off x="2827648" y="3578770"/>
            <a:ext cx="6008899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81775D9-2158-443B-8B44-C1F11FBB331E}"/>
              </a:ext>
            </a:extLst>
          </p:cNvPr>
          <p:cNvCxnSpPr/>
          <p:nvPr/>
        </p:nvCxnSpPr>
        <p:spPr bwMode="auto">
          <a:xfrm>
            <a:off x="2827648" y="4522351"/>
            <a:ext cx="6008899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1B6535-1F5D-4CE9-846E-9591942A94B0}"/>
              </a:ext>
            </a:extLst>
          </p:cNvPr>
          <p:cNvCxnSpPr/>
          <p:nvPr/>
        </p:nvCxnSpPr>
        <p:spPr bwMode="auto">
          <a:xfrm>
            <a:off x="2827648" y="5465935"/>
            <a:ext cx="6008899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6BC32C41-6758-45AD-9FB3-A9905CD4747E}"/>
              </a:ext>
            </a:extLst>
          </p:cNvPr>
          <p:cNvSpPr/>
          <p:nvPr/>
        </p:nvSpPr>
        <p:spPr bwMode="auto">
          <a:xfrm>
            <a:off x="3196861" y="1990279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+2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296DA40-4389-49D7-BCB1-4D0AD0DB1E1B}"/>
              </a:ext>
            </a:extLst>
          </p:cNvPr>
          <p:cNvSpPr/>
          <p:nvPr/>
        </p:nvSpPr>
        <p:spPr bwMode="auto">
          <a:xfrm>
            <a:off x="5252249" y="1990279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6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6C3FC37-0A0E-47EB-B094-B4B004D12A86}"/>
              </a:ext>
            </a:extLst>
          </p:cNvPr>
          <p:cNvSpPr/>
          <p:nvPr/>
        </p:nvSpPr>
        <p:spPr bwMode="auto">
          <a:xfrm>
            <a:off x="7309971" y="2133597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n.a.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0057E95-766E-42F5-96A0-4FF94F3DDEEA}"/>
              </a:ext>
            </a:extLst>
          </p:cNvPr>
          <p:cNvSpPr/>
          <p:nvPr/>
        </p:nvSpPr>
        <p:spPr bwMode="auto">
          <a:xfrm>
            <a:off x="3196861" y="2907041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chemeClr val="bg1"/>
                </a:solidFill>
                <a:latin typeface="Arial" charset="0"/>
              </a:rPr>
              <a:t>-0.0053</a:t>
            </a:r>
            <a:endParaRPr lang="en-US" sz="16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741CE09-0280-4C7F-B9EE-C06E8E3D743C}"/>
              </a:ext>
            </a:extLst>
          </p:cNvPr>
          <p:cNvSpPr/>
          <p:nvPr/>
        </p:nvSpPr>
        <p:spPr bwMode="auto">
          <a:xfrm>
            <a:off x="5252249" y="2907041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chemeClr val="bg1"/>
                </a:solidFill>
                <a:latin typeface="Arial" charset="0"/>
              </a:rPr>
              <a:t>-0.0018</a:t>
            </a:r>
            <a:endParaRPr lang="en-US" sz="16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3F5476-1008-4068-8352-030683D44DD9}"/>
              </a:ext>
            </a:extLst>
          </p:cNvPr>
          <p:cNvSpPr/>
          <p:nvPr/>
        </p:nvSpPr>
        <p:spPr bwMode="auto">
          <a:xfrm>
            <a:off x="3196861" y="3893318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5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E05DD23-75AB-4B31-A94C-13CAE307C582}"/>
              </a:ext>
            </a:extLst>
          </p:cNvPr>
          <p:cNvSpPr/>
          <p:nvPr/>
        </p:nvSpPr>
        <p:spPr bwMode="auto">
          <a:xfrm>
            <a:off x="5252249" y="3893318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10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91B8F-232B-42B1-ACA1-0DF07CB9358B}"/>
              </a:ext>
            </a:extLst>
          </p:cNvPr>
          <p:cNvSpPr/>
          <p:nvPr/>
        </p:nvSpPr>
        <p:spPr bwMode="auto">
          <a:xfrm>
            <a:off x="3196861" y="4815354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45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3F4C03C-8F7E-43FF-B4E1-B980CDF67757}"/>
              </a:ext>
            </a:extLst>
          </p:cNvPr>
          <p:cNvSpPr/>
          <p:nvPr/>
        </p:nvSpPr>
        <p:spPr bwMode="auto">
          <a:xfrm>
            <a:off x="5252249" y="4815354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45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641FA05-5489-4DDE-B624-893093C4DF2B}"/>
              </a:ext>
            </a:extLst>
          </p:cNvPr>
          <p:cNvSpPr/>
          <p:nvPr/>
        </p:nvSpPr>
        <p:spPr bwMode="auto">
          <a:xfrm>
            <a:off x="3196861" y="5764608"/>
            <a:ext cx="1159696" cy="346234"/>
          </a:xfrm>
          <a:prstGeom prst="ellipse">
            <a:avLst/>
          </a:prstGeom>
          <a:solidFill>
            <a:srgbClr val="00AF5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0.0012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5C511F6-6835-4DC1-B82B-B94C8B9EDD00}"/>
              </a:ext>
            </a:extLst>
          </p:cNvPr>
          <p:cNvSpPr/>
          <p:nvPr/>
        </p:nvSpPr>
        <p:spPr bwMode="auto">
          <a:xfrm>
            <a:off x="5252249" y="5764608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71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1C5BF55-6112-4132-AA33-E5B6B4D5CEA3}"/>
              </a:ext>
            </a:extLst>
          </p:cNvPr>
          <p:cNvSpPr/>
          <p:nvPr/>
        </p:nvSpPr>
        <p:spPr bwMode="auto">
          <a:xfrm>
            <a:off x="7309971" y="1779660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n.a.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600" b="0" i="0" u="none" strike="noStrike" cap="none" normalizeH="0" baseline="3000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9E5CB87-C1DD-4A23-B928-615F6067B136}"/>
              </a:ext>
            </a:extLst>
          </p:cNvPr>
          <p:cNvSpPr/>
          <p:nvPr/>
        </p:nvSpPr>
        <p:spPr bwMode="auto">
          <a:xfrm>
            <a:off x="7309971" y="3075101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48</a:t>
            </a:r>
            <a:r>
              <a:rPr lang="en-US" sz="1600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sz="1600" dirty="0">
                <a:solidFill>
                  <a:schemeClr val="bg1"/>
                </a:solidFill>
                <a:latin typeface="Arial" charset="0"/>
              </a:rPr>
              <a:t> </a:t>
            </a:r>
            <a:endParaRPr kumimoji="0" lang="en-US" sz="1600" b="0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9869A6D-96FF-412B-89C0-CCC125831E8A}"/>
              </a:ext>
            </a:extLst>
          </p:cNvPr>
          <p:cNvSpPr/>
          <p:nvPr/>
        </p:nvSpPr>
        <p:spPr bwMode="auto">
          <a:xfrm>
            <a:off x="7309971" y="2721164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0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6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6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BFF8C4AB-874F-4AD4-B775-8CFF85A1C3A3}"/>
              </a:ext>
            </a:extLst>
          </p:cNvPr>
          <p:cNvSpPr/>
          <p:nvPr/>
        </p:nvSpPr>
        <p:spPr bwMode="auto">
          <a:xfrm>
            <a:off x="7309971" y="4051668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59</a:t>
            </a:r>
            <a:r>
              <a:rPr lang="en-US" sz="1600" baseline="30000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EE6992D-7FCD-4AE7-8FE9-BD336A415108}"/>
              </a:ext>
            </a:extLst>
          </p:cNvPr>
          <p:cNvSpPr/>
          <p:nvPr/>
        </p:nvSpPr>
        <p:spPr bwMode="auto">
          <a:xfrm>
            <a:off x="7309971" y="3697730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0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EAE4470-C648-40FD-9F86-79009BE27D50}"/>
              </a:ext>
            </a:extLst>
          </p:cNvPr>
          <p:cNvSpPr/>
          <p:nvPr/>
        </p:nvSpPr>
        <p:spPr bwMode="auto">
          <a:xfrm>
            <a:off x="7309971" y="4951094"/>
            <a:ext cx="1159696" cy="346234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-0.0009</a:t>
            </a:r>
            <a:r>
              <a:rPr lang="en-US" sz="1600" baseline="30000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BA12488-06EB-4E0D-A397-99616BD429A9}"/>
              </a:ext>
            </a:extLst>
          </p:cNvPr>
          <p:cNvSpPr/>
          <p:nvPr/>
        </p:nvSpPr>
        <p:spPr bwMode="auto">
          <a:xfrm>
            <a:off x="7309971" y="4597156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0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D85B738B-756F-4D41-9D59-040225DF8A8E}"/>
              </a:ext>
            </a:extLst>
          </p:cNvPr>
          <p:cNvSpPr/>
          <p:nvPr/>
        </p:nvSpPr>
        <p:spPr bwMode="auto">
          <a:xfrm>
            <a:off x="7309971" y="5948219"/>
            <a:ext cx="1159696" cy="346234"/>
          </a:xfrm>
          <a:prstGeom prst="ellipse">
            <a:avLst/>
          </a:prstGeom>
          <a:solidFill>
            <a:srgbClr val="00AF5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Arial" charset="0"/>
              </a:rPr>
              <a:t>0.0238</a:t>
            </a:r>
            <a:r>
              <a:rPr lang="en-US" sz="1600" baseline="30000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3F3AEAD-1CD1-4FDB-B834-32FD317A589A}"/>
              </a:ext>
            </a:extLst>
          </p:cNvPr>
          <p:cNvSpPr/>
          <p:nvPr/>
        </p:nvSpPr>
        <p:spPr bwMode="auto">
          <a:xfrm>
            <a:off x="7309971" y="5594283"/>
            <a:ext cx="1159696" cy="34623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  <a:latin typeface="Arial" charset="0"/>
              </a:rPr>
              <a:t>0</a:t>
            </a:r>
            <a:r>
              <a:rPr lang="en-US" sz="16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4. Footnote">
            <a:extLst>
              <a:ext uri="{FF2B5EF4-FFF2-40B4-BE49-F238E27FC236}">
                <a16:creationId xmlns:a16="http://schemas.microsoft.com/office/drawing/2014/main" id="{29D92E86-27CE-40CB-B714-EEF5AE8B9A3D}"/>
              </a:ext>
            </a:extLst>
          </p:cNvPr>
          <p:cNvSpPr txBox="1"/>
          <p:nvPr/>
        </p:nvSpPr>
        <p:spPr>
          <a:xfrm>
            <a:off x="418654" y="6521082"/>
            <a:ext cx="95250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1 CP = 0,0025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2 CP = 0,00068</a:t>
            </a:r>
          </a:p>
        </p:txBody>
      </p:sp>
    </p:spTree>
    <p:extLst>
      <p:ext uri="{BB962C8B-B14F-4D97-AF65-F5344CB8AC3E}">
        <p14:creationId xmlns:p14="http://schemas.microsoft.com/office/powerpoint/2010/main" val="22750069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8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1" name="think-cell Slide" r:id="rId11" imgW="629" imgH="631" progId="TCLayout.ActiveDocument.1">
                  <p:embed/>
                </p:oleObj>
              </mc:Choice>
              <mc:Fallback>
                <p:oleObj name="think-cell Slide" r:id="rId11" imgW="629" imgH="6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AF1EE1C-35DA-49A4-8E2F-47B384E3F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questions to address</a:t>
            </a:r>
          </a:p>
        </p:txBody>
      </p:sp>
      <p:pic>
        <p:nvPicPr>
          <p:cNvPr id="3" name="Picture 9" descr="Question 2">
            <a:extLst>
              <a:ext uri="{FF2B5EF4-FFF2-40B4-BE49-F238E27FC236}">
                <a16:creationId xmlns:a16="http://schemas.microsoft.com/office/drawing/2014/main" id="{C05082A0-1585-4ACF-845F-63F9EA661A7A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3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2">
            <a:hlinkClick r:id="rId14" action="ppaction://hlinksldjump"/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6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Prediction of likelihood of default</a:t>
            </a:r>
          </a:p>
        </p:txBody>
      </p:sp>
      <p:sp>
        <p:nvSpPr>
          <p:cNvPr id="76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2881313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ing with a high CP parameter</a:t>
            </a:r>
          </a:p>
        </p:txBody>
      </p:sp>
      <p:sp>
        <p:nvSpPr>
          <p:cNvPr id="13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5C8EAFF6-5AD5-4DFC-999D-B679EAD8750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50" y="3486150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Selection of the best classifier</a:t>
            </a:r>
          </a:p>
        </p:txBody>
      </p:sp>
      <p:sp>
        <p:nvSpPr>
          <p:cNvPr id="80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8449" y="4090988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4"/>
            </a:pPr>
            <a:r>
              <a:rPr lang="en-US" altLang="en-US" sz="1800" dirty="0"/>
              <a:t>Feature engineering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449" y="4695825"/>
            <a:ext cx="6338888" cy="604838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5"/>
            </a:pPr>
            <a:r>
              <a:rPr lang="en-US" altLang="en-US" sz="1800" b="1" dirty="0">
                <a:solidFill>
                  <a:schemeClr val="bg1"/>
                </a:solidFill>
              </a:rPr>
              <a:t>Reflection on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4034002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7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The flow of the </a:t>
            </a:r>
            <a:r>
              <a:rPr lang="en-US" dirty="0" err="1"/>
              <a:t>Ctree</a:t>
            </a:r>
            <a:r>
              <a:rPr lang="en-US" dirty="0"/>
              <a:t> CART model gives relevant information for the best and worst customer segment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A5BFF3E-5511-4E71-8F11-53D04421A93B}"/>
              </a:ext>
            </a:extLst>
          </p:cNvPr>
          <p:cNvGrpSpPr/>
          <p:nvPr/>
        </p:nvGrpSpPr>
        <p:grpSpPr>
          <a:xfrm>
            <a:off x="2070523" y="1052736"/>
            <a:ext cx="7490989" cy="5517179"/>
            <a:chOff x="2070523" y="1052736"/>
            <a:chExt cx="7416824" cy="5517179"/>
          </a:xfrm>
        </p:grpSpPr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987603A7-2F69-4B4A-936B-BB7EFB5EDEF7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070523" y="1052736"/>
              <a:ext cx="7416824" cy="55171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txBody>
            <a:bodyPr vert="horz" wrap="square" lIns="72000" tIns="36000" rIns="72000" bIns="36000" rtlCol="0" anchor="ctr" anchorCtr="0">
              <a:no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endParaRPr lang="en-US" sz="1200" dirty="0"/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E4D506B8-219A-44CE-BD64-C8F66429E115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2070523" y="1052736"/>
              <a:ext cx="7416824" cy="257369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</a:ln>
          </p:spPr>
          <p:txBody>
            <a:bodyPr vert="horz" wrap="square" lIns="36000" tIns="36000" rIns="36000" bIns="36000" rtlCol="0" anchor="ctr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Examples (samples from the </a:t>
              </a:r>
              <a:r>
                <a:rPr lang="en-US" sz="1200" b="1" dirty="0" err="1">
                  <a:solidFill>
                    <a:schemeClr val="bg1"/>
                  </a:solidFill>
                </a:rPr>
                <a:t>Ctree</a:t>
              </a:r>
              <a:r>
                <a:rPr lang="en-US" sz="1200" b="1" dirty="0">
                  <a:solidFill>
                    <a:schemeClr val="bg1"/>
                  </a:solidFill>
                </a:rPr>
                <a:t> CART tree)</a:t>
              </a:r>
            </a:p>
          </p:txBody>
        </p:sp>
      </p:grpSp>
      <p:sp>
        <p:nvSpPr>
          <p:cNvPr id="5" name="Rectangle 3">
            <a:extLst>
              <a:ext uri="{FF2B5EF4-FFF2-40B4-BE49-F238E27FC236}">
                <a16:creationId xmlns:a16="http://schemas.microsoft.com/office/drawing/2014/main" id="{847AD524-8862-4DE1-B6DB-59E1C9A720B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18654" y="1472246"/>
            <a:ext cx="1942058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200" b="1" dirty="0"/>
              <a:t>Approach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Selection of </a:t>
            </a:r>
            <a:r>
              <a:rPr lang="en-US" sz="1200" b="1" dirty="0" err="1"/>
              <a:t>Ctree</a:t>
            </a:r>
            <a:r>
              <a:rPr lang="en-US" sz="1200" b="1" dirty="0"/>
              <a:t> CART model </a:t>
            </a:r>
            <a:r>
              <a:rPr lang="en-US" sz="1200" dirty="0"/>
              <a:t>based on better accuracy and higher </a:t>
            </a:r>
            <a:r>
              <a:rPr lang="en-US" sz="1200" dirty="0" err="1"/>
              <a:t>AUC</a:t>
            </a:r>
            <a:endParaRPr lang="en-US" sz="1200" dirty="0"/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nalysis of </a:t>
            </a:r>
            <a:r>
              <a:rPr lang="en-US" sz="1200" b="1" dirty="0"/>
              <a:t>the flow of the tree </a:t>
            </a:r>
            <a:r>
              <a:rPr lang="en-US" sz="1200" dirty="0"/>
              <a:t>regarding</a:t>
            </a:r>
            <a:endParaRPr lang="en-US" sz="1200" b="1" dirty="0"/>
          </a:p>
          <a:p>
            <a:pPr lvl="1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</a:pPr>
            <a:r>
              <a:rPr lang="en-US" sz="1200" dirty="0"/>
              <a:t>Customer segments</a:t>
            </a:r>
          </a:p>
          <a:p>
            <a:pPr lvl="1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</a:pPr>
            <a:r>
              <a:rPr lang="en-US" sz="1200" dirty="0"/>
              <a:t>Impact of credit limits</a:t>
            </a:r>
          </a:p>
          <a:p>
            <a:pPr marL="260350" lvl="1" indent="-171450"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Interpretation of critical factors</a:t>
            </a:r>
            <a:r>
              <a:rPr lang="en-US" sz="1200" dirty="0"/>
              <a:t> when they are </a:t>
            </a:r>
            <a:r>
              <a:rPr lang="en-US" sz="1200" b="1" dirty="0"/>
              <a:t>relevant for the prediction </a:t>
            </a:r>
            <a:r>
              <a:rPr lang="en-US" sz="1200" dirty="0"/>
              <a:t>(i.e., when showing up as nodules)</a:t>
            </a:r>
          </a:p>
          <a:p>
            <a:pPr lvl="1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</a:pPr>
            <a:endParaRPr lang="en-US" sz="120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2360712" y="1494496"/>
            <a:ext cx="3240360" cy="442035"/>
            <a:chOff x="2610882" y="1342153"/>
            <a:chExt cx="4619938" cy="442035"/>
          </a:xfrm>
        </p:grpSpPr>
        <p:sp>
          <p:nvSpPr>
            <p:cNvPr id="39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2610882" y="1342153"/>
              <a:ext cx="4619938" cy="442035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Customer segments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5673080" y="1494496"/>
            <a:ext cx="2085103" cy="257369"/>
            <a:chOff x="2610882" y="1342153"/>
            <a:chExt cx="4619938" cy="257369"/>
          </a:xfrm>
        </p:grpSpPr>
        <p:sp>
          <p:nvSpPr>
            <p:cNvPr id="42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Impact of credit limits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95637" y="1860744"/>
            <a:ext cx="1224136" cy="4236253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2216696" y="5936330"/>
            <a:ext cx="1501177" cy="55399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en-US" sz="1000" dirty="0"/>
              <a:t>Men appear to be slightly more likely to default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2"/>
          <a:srcRect l="-3639" t="80149" r="-7238" b="-7925"/>
          <a:stretch/>
        </p:blipFill>
        <p:spPr>
          <a:xfrm>
            <a:off x="4055033" y="4220245"/>
            <a:ext cx="1467991" cy="2523981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12"/>
          <a:srcRect l="9208" b="90666"/>
          <a:stretch/>
        </p:blipFill>
        <p:spPr>
          <a:xfrm>
            <a:off x="4187367" y="1852856"/>
            <a:ext cx="1283065" cy="90533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12"/>
          <a:srcRect l="9208" t="39017" b="52419"/>
          <a:stretch/>
        </p:blipFill>
        <p:spPr>
          <a:xfrm>
            <a:off x="4065327" y="2950744"/>
            <a:ext cx="1535745" cy="994221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3969255" y="5936330"/>
            <a:ext cx="1501177" cy="55399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en-US" sz="1000" dirty="0"/>
              <a:t>Education level seems relevant in predicting probability of defaul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/>
          <a:srcRect t="78909"/>
          <a:stretch/>
        </p:blipFill>
        <p:spPr>
          <a:xfrm>
            <a:off x="6098438" y="4149080"/>
            <a:ext cx="1315131" cy="1872208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3"/>
          <a:srcRect r="9850" b="92110"/>
          <a:stretch/>
        </p:blipFill>
        <p:spPr>
          <a:xfrm>
            <a:off x="5877401" y="1887801"/>
            <a:ext cx="1422123" cy="840177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13"/>
          <a:srcRect t="39785" b="52103"/>
          <a:stretch/>
        </p:blipFill>
        <p:spPr>
          <a:xfrm>
            <a:off x="5877401" y="2950744"/>
            <a:ext cx="1571738" cy="860581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5454438" y="5859386"/>
            <a:ext cx="2417663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GB"/>
            </a:defPPr>
            <a:lvl1pPr marL="0" lvl="0" indent="0" algn="ctr">
              <a:spcBef>
                <a:spcPct val="20000"/>
              </a:spcBef>
              <a:spcAft>
                <a:spcPts val="400"/>
              </a:spcAft>
              <a:buNone/>
              <a:defRPr sz="10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/>
              <a:t>Credit limits shows that the Bank has already learned with past experience, giving a lower limit to clients that are more prone to default</a:t>
            </a:r>
          </a:p>
        </p:txBody>
      </p:sp>
      <p:sp>
        <p:nvSpPr>
          <p:cNvPr id="25" name="Pentagon 57">
            <a:extLst>
              <a:ext uri="{FF2B5EF4-FFF2-40B4-BE49-F238E27FC236}">
                <a16:creationId xmlns:a16="http://schemas.microsoft.com/office/drawing/2014/main" id="{21C970C1-AB88-4F33-951C-659FB6AC4532}"/>
              </a:ext>
            </a:extLst>
          </p:cNvPr>
          <p:cNvSpPr/>
          <p:nvPr/>
        </p:nvSpPr>
        <p:spPr bwMode="auto">
          <a:xfrm>
            <a:off x="7927826" y="2381980"/>
            <a:ext cx="200280" cy="3187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F09309-5002-4DBC-ADF1-F8B8A2D67386}"/>
              </a:ext>
            </a:extLst>
          </p:cNvPr>
          <p:cNvSpPr txBox="1"/>
          <p:nvPr/>
        </p:nvSpPr>
        <p:spPr>
          <a:xfrm>
            <a:off x="8193360" y="1825333"/>
            <a:ext cx="1347537" cy="44196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Impact on business decisions stemming from classification:</a:t>
            </a:r>
          </a:p>
          <a:p>
            <a:pPr marL="0" indent="0">
              <a:buNone/>
            </a:pPr>
            <a:r>
              <a:rPr lang="en-US" sz="1200" dirty="0"/>
              <a:t>If default next month predicted, the bank can lower the limit on the credit card to limit the loss</a:t>
            </a:r>
          </a:p>
          <a:p>
            <a:pPr marL="0" indent="0">
              <a:buNone/>
            </a:pPr>
            <a:r>
              <a:rPr lang="en-US" sz="1200" dirty="0"/>
              <a:t>Improved yield of the targeting of new customers based on the classification tree (offer new products to clients less prone to default)</a:t>
            </a:r>
          </a:p>
          <a:p>
            <a:pPr marL="0" indent="0">
              <a:buNone/>
            </a:pPr>
            <a:r>
              <a:rPr lang="en-US" sz="1200" dirty="0"/>
              <a:t>Improved setting of card limi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142463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770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1" name="think-cell Slide" r:id="rId11" imgW="629" imgH="631" progId="TCLayout.ActiveDocument.1">
                  <p:embed/>
                </p:oleObj>
              </mc:Choice>
              <mc:Fallback>
                <p:oleObj name="think-cell Slide" r:id="rId11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29" name="Picture 9" descr="Question 2">
            <a:extLst>
              <a:ext uri="{FF2B5EF4-FFF2-40B4-BE49-F238E27FC236}">
                <a16:creationId xmlns:a16="http://schemas.microsoft.com/office/drawing/2014/main" id="{7EB4B101-5870-40D4-9DD5-9B7DE0FAAD46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3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questions to address</a:t>
            </a:r>
          </a:p>
        </p:txBody>
      </p:sp>
      <p:sp>
        <p:nvSpPr>
          <p:cNvPr id="14" name="Text Placeholder 2"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6"/>
            <a:ext cx="6338888" cy="604838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/>
            </a:pPr>
            <a:r>
              <a:rPr lang="en-US" altLang="en-US" sz="1800" b="1" dirty="0">
                <a:solidFill>
                  <a:schemeClr val="bg1"/>
                </a:solidFill>
              </a:rPr>
              <a:t>Prediction of likelihood of default</a:t>
            </a:r>
          </a:p>
        </p:txBody>
      </p:sp>
      <p:sp>
        <p:nvSpPr>
          <p:cNvPr id="40" name="Text Placeholder 2">
            <a:hlinkClick r:id="rId14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2881313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ing with a high CP parameter</a:t>
            </a:r>
          </a:p>
        </p:txBody>
      </p:sp>
      <p:sp>
        <p:nvSpPr>
          <p:cNvPr id="13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2CDEB73F-DC29-4E70-BE69-72E2E704FBC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50" y="3486150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Selection of the best classifier</a:t>
            </a:r>
          </a:p>
        </p:txBody>
      </p:sp>
      <p:sp>
        <p:nvSpPr>
          <p:cNvPr id="44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8449" y="4090988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4"/>
            </a:pPr>
            <a:r>
              <a:rPr lang="en-US" altLang="en-US" sz="1800" dirty="0"/>
              <a:t>Feature engineering</a:t>
            </a:r>
          </a:p>
        </p:txBody>
      </p:sp>
      <p:sp>
        <p:nvSpPr>
          <p:cNvPr id="46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449" y="4695825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5"/>
            </a:pPr>
            <a:r>
              <a:rPr lang="en-US" altLang="en-US" sz="1800" dirty="0"/>
              <a:t>Reflection on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1934466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195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2" name="think-cell Slide" r:id="rId17" imgW="524" imgH="526" progId="TCLayout.ActiveDocument.1">
                  <p:embed/>
                </p:oleObj>
              </mc:Choice>
              <mc:Fallback>
                <p:oleObj name="think-cell Slide" r:id="rId17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70523" y="1052736"/>
            <a:ext cx="7416824" cy="5517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70523" y="1052736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Prediction of likelihood of defaul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The several models predict that neither of the customers will defaul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47AD524-8862-4DE1-B6DB-59E1C9A720B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18654" y="1472246"/>
            <a:ext cx="1891820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200" b="1" dirty="0"/>
              <a:t>Approach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Reclassify</a:t>
            </a:r>
            <a:r>
              <a:rPr lang="en-US" sz="1200" dirty="0"/>
              <a:t> numerical/integer data into </a:t>
            </a:r>
            <a:r>
              <a:rPr lang="en-US" sz="1200" b="1" dirty="0"/>
              <a:t>categories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Exclude the two IDs to be predicted </a:t>
            </a:r>
            <a:r>
              <a:rPr lang="en-US" sz="1200" dirty="0"/>
              <a:t>(ID 25001 &amp; 26001) 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eate </a:t>
            </a:r>
            <a:r>
              <a:rPr lang="en-US" sz="1200" b="1" dirty="0"/>
              <a:t>testing and training </a:t>
            </a:r>
            <a:r>
              <a:rPr lang="en-US" sz="1200" dirty="0"/>
              <a:t>samples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velop </a:t>
            </a:r>
            <a:r>
              <a:rPr lang="en-US" sz="1200" b="1" dirty="0"/>
              <a:t>forecasting models</a:t>
            </a:r>
            <a:r>
              <a:rPr lang="en-US" sz="1200" dirty="0"/>
              <a:t>: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Stepwise regression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Ctree</a:t>
            </a:r>
            <a:r>
              <a:rPr lang="en-US" sz="1200" b="1" dirty="0"/>
              <a:t> CART</a:t>
            </a:r>
          </a:p>
          <a:p>
            <a:pPr marL="360363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Rpart</a:t>
            </a:r>
            <a:r>
              <a:rPr lang="en-US" sz="1200" b="1" dirty="0"/>
              <a:t> CART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Cut-off</a:t>
            </a:r>
            <a:r>
              <a:rPr lang="en-US" sz="1200" dirty="0"/>
              <a:t> for “default vs. non-default” set as the </a:t>
            </a:r>
            <a:r>
              <a:rPr lang="en-US" sz="1200" b="1" dirty="0"/>
              <a:t>average of data, i.e., 0.2212</a:t>
            </a:r>
          </a:p>
          <a:p>
            <a:pPr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mpare models using the </a:t>
            </a:r>
            <a:r>
              <a:rPr lang="en-US" sz="1200" b="1" dirty="0"/>
              <a:t>Confusion Matrix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3513138" y="1342153"/>
            <a:ext cx="1295846" cy="257369"/>
            <a:chOff x="2610882" y="1342153"/>
            <a:chExt cx="4619938" cy="257369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Stepwise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Rectangle 3">
            <a:extLst>
              <a:ext uri="{FF2B5EF4-FFF2-40B4-BE49-F238E27FC236}">
                <a16:creationId xmlns:a16="http://schemas.microsoft.com/office/drawing/2014/main" id="{6C3A52B4-E4F4-43A3-BFCB-83DAD0489B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361457" y="173154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IC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361457" y="249599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Accurac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4917145" y="1342153"/>
            <a:ext cx="1295846" cy="257369"/>
            <a:chOff x="2610882" y="1342153"/>
            <a:chExt cx="4619938" cy="257369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Ctree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6321152" y="1342153"/>
            <a:ext cx="1295846" cy="257369"/>
            <a:chOff x="2610882" y="1342153"/>
            <a:chExt cx="4619938" cy="257369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 err="1"/>
                <a:t>Rpart</a:t>
              </a:r>
              <a:r>
                <a:rPr lang="en-US" sz="1200" b="1" dirty="0"/>
                <a:t> CART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361457" y="326045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ensitivity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361457" y="4024906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Specificity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361457" y="4789361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 err="1"/>
              <a:t>AUC</a:t>
            </a:r>
            <a:endParaRPr lang="en-US" sz="1200" b="1" dirty="0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361457" y="5697834"/>
            <a:ext cx="1079375" cy="6834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Clr>
                <a:schemeClr val="tx2"/>
              </a:buClr>
              <a:buNone/>
            </a:pPr>
            <a:r>
              <a:rPr lang="en-US" sz="1200" b="1" dirty="0"/>
              <a:t>Prediction</a:t>
            </a: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3512840" y="245551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/>
        </p:nvCxnSpPr>
        <p:spPr bwMode="auto">
          <a:xfrm>
            <a:off x="3512840" y="321997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3512840" y="3984425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3512840" y="4748881"/>
            <a:ext cx="410415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3512840" y="5589240"/>
            <a:ext cx="410415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Pentagon 53"/>
          <p:cNvSpPr/>
          <p:nvPr/>
        </p:nvSpPr>
        <p:spPr bwMode="auto">
          <a:xfrm>
            <a:off x="7758183" y="2381980"/>
            <a:ext cx="200280" cy="3187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049344" y="2924944"/>
            <a:ext cx="1347537" cy="206415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/>
              <a:t>Ctree</a:t>
            </a:r>
            <a:r>
              <a:rPr lang="en-US" sz="1200" b="1" dirty="0"/>
              <a:t> CART model is the one with the most reliable prediction given:</a:t>
            </a:r>
          </a:p>
          <a:p>
            <a:pPr marL="388937" lvl="1" indent="-1714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Higher accuracy</a:t>
            </a:r>
          </a:p>
          <a:p>
            <a:pPr marL="388937" lvl="1" indent="-1714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Higher </a:t>
            </a:r>
            <a:r>
              <a:rPr lang="en-US" sz="1200" dirty="0" err="1"/>
              <a:t>AUC</a:t>
            </a:r>
            <a:endParaRPr lang="en-US" sz="1200" dirty="0"/>
          </a:p>
        </p:txBody>
      </p:sp>
      <p:sp>
        <p:nvSpPr>
          <p:cNvPr id="58" name="Oval 57"/>
          <p:cNvSpPr/>
          <p:nvPr/>
        </p:nvSpPr>
        <p:spPr bwMode="auto">
          <a:xfrm>
            <a:off x="3765017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1795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5168875" y="194345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Oval 59"/>
          <p:cNvSpPr/>
          <p:nvPr/>
        </p:nvSpPr>
        <p:spPr bwMode="auto">
          <a:xfrm>
            <a:off x="6574326" y="205956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3765017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9</a:t>
            </a:r>
          </a:p>
        </p:txBody>
      </p:sp>
      <p:sp>
        <p:nvSpPr>
          <p:cNvPr id="62" name="Oval 61"/>
          <p:cNvSpPr/>
          <p:nvPr/>
        </p:nvSpPr>
        <p:spPr bwMode="auto">
          <a:xfrm>
            <a:off x="5168875" y="268617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9</a:t>
            </a:r>
          </a:p>
        </p:txBody>
      </p:sp>
      <p:sp>
        <p:nvSpPr>
          <p:cNvPr id="64" name="Oval 63"/>
          <p:cNvSpPr/>
          <p:nvPr/>
        </p:nvSpPr>
        <p:spPr bwMode="auto">
          <a:xfrm>
            <a:off x="3765017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34</a:t>
            </a:r>
          </a:p>
        </p:txBody>
      </p:sp>
      <p:sp>
        <p:nvSpPr>
          <p:cNvPr id="65" name="Oval 64"/>
          <p:cNvSpPr/>
          <p:nvPr/>
        </p:nvSpPr>
        <p:spPr bwMode="auto">
          <a:xfrm>
            <a:off x="5168875" y="3485222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3</a:t>
            </a:r>
          </a:p>
        </p:txBody>
      </p:sp>
      <p:sp>
        <p:nvSpPr>
          <p:cNvPr id="67" name="Oval 66"/>
          <p:cNvSpPr/>
          <p:nvPr/>
        </p:nvSpPr>
        <p:spPr bwMode="auto">
          <a:xfrm>
            <a:off x="3765017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584</a:t>
            </a:r>
          </a:p>
        </p:txBody>
      </p:sp>
      <p:sp>
        <p:nvSpPr>
          <p:cNvPr id="68" name="Oval 67"/>
          <p:cNvSpPr/>
          <p:nvPr/>
        </p:nvSpPr>
        <p:spPr bwMode="auto">
          <a:xfrm>
            <a:off x="5168875" y="423222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48</a:t>
            </a:r>
          </a:p>
        </p:txBody>
      </p:sp>
      <p:sp>
        <p:nvSpPr>
          <p:cNvPr id="70" name="Oval 69"/>
          <p:cNvSpPr/>
          <p:nvPr/>
        </p:nvSpPr>
        <p:spPr bwMode="auto">
          <a:xfrm>
            <a:off x="3765017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1</a:t>
            </a:r>
          </a:p>
        </p:txBody>
      </p:sp>
      <p:sp>
        <p:nvSpPr>
          <p:cNvPr id="71" name="Oval 70"/>
          <p:cNvSpPr/>
          <p:nvPr/>
        </p:nvSpPr>
        <p:spPr bwMode="auto">
          <a:xfrm>
            <a:off x="5168875" y="500127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773</a:t>
            </a:r>
          </a:p>
        </p:txBody>
      </p:sp>
      <p:sp>
        <p:nvSpPr>
          <p:cNvPr id="73" name="Rounded Rectangle 72"/>
          <p:cNvSpPr/>
          <p:nvPr/>
        </p:nvSpPr>
        <p:spPr bwMode="auto">
          <a:xfrm>
            <a:off x="3512840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12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14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>
            <a:off x="4916847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25001: 0.21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6001: 0.20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</a:t>
            </a:r>
            <a:r>
              <a:rPr kumimoji="0" lang="en-US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6320854" y="5697834"/>
            <a:ext cx="1296144" cy="68349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ID25001 &amp; 26001 0.1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/ 0.14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lang="en-US" sz="1200" dirty="0">
              <a:solidFill>
                <a:schemeClr val="tx1"/>
              </a:solidFill>
              <a:latin typeface="Arial" charset="0"/>
            </a:endParaRPr>
          </a:p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tx1"/>
                </a:solidFill>
                <a:latin typeface="Arial" charset="0"/>
              </a:rPr>
              <a:t>No default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6574326" y="1772816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/>
                </a:solidFill>
                <a:latin typeface="Arial" charset="0"/>
              </a:rPr>
              <a:t>n.a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.</a:t>
            </a:r>
            <a:endParaRPr kumimoji="0" lang="en-US" sz="1200" b="0" i="0" u="none" strike="noStrike" cap="none" normalizeH="0" baseline="3000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6574326" y="2822333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9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6574326" y="2535587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816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6574326" y="3613510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Oval 55"/>
          <p:cNvSpPr/>
          <p:nvPr/>
        </p:nvSpPr>
        <p:spPr bwMode="auto">
          <a:xfrm>
            <a:off x="6574326" y="3326764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95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Oval 56"/>
          <p:cNvSpPr/>
          <p:nvPr/>
        </p:nvSpPr>
        <p:spPr bwMode="auto">
          <a:xfrm>
            <a:off x="6574326" y="4342191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31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7" name="Oval 76"/>
          <p:cNvSpPr/>
          <p:nvPr/>
        </p:nvSpPr>
        <p:spPr bwMode="auto">
          <a:xfrm>
            <a:off x="6574326" y="405544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319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Oval 77"/>
          <p:cNvSpPr/>
          <p:nvPr/>
        </p:nvSpPr>
        <p:spPr bwMode="auto">
          <a:xfrm>
            <a:off x="6574326" y="5150025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677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2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Oval 78"/>
          <p:cNvSpPr/>
          <p:nvPr/>
        </p:nvSpPr>
        <p:spPr bwMode="auto">
          <a:xfrm>
            <a:off x="6574326" y="4863279"/>
            <a:ext cx="792088" cy="2596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0.638</a:t>
            </a:r>
            <a:r>
              <a:rPr lang="en-US" sz="1200" baseline="30000" dirty="0">
                <a:solidFill>
                  <a:schemeClr val="tx1"/>
                </a:solidFill>
                <a:latin typeface="Arial" charset="0"/>
              </a:rPr>
              <a:t>1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4. Footnote"/>
          <p:cNvSpPr txBox="1"/>
          <p:nvPr/>
        </p:nvSpPr>
        <p:spPr>
          <a:xfrm>
            <a:off x="418654" y="6521082"/>
            <a:ext cx="95250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1 CP = 0.0025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dirty="0">
                <a:solidFill>
                  <a:schemeClr val="accent6"/>
                </a:solidFill>
              </a:rPr>
              <a:t>2 CP = 0.00068</a:t>
            </a:r>
          </a:p>
        </p:txBody>
      </p:sp>
    </p:spTree>
    <p:extLst>
      <p:ext uri="{BB962C8B-B14F-4D97-AF65-F5344CB8AC3E}">
        <p14:creationId xmlns:p14="http://schemas.microsoft.com/office/powerpoint/2010/main" val="221726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801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8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9289032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488" y="1124744"/>
            <a:ext cx="9289032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Stepwise logistic regress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338554"/>
          </a:xfrm>
        </p:spPr>
        <p:txBody>
          <a:bodyPr/>
          <a:lstStyle/>
          <a:p>
            <a:pPr marL="447675"/>
            <a:r>
              <a:rPr lang="en-US" dirty="0"/>
              <a:t>Output graphs for the stepwise logistic regression (1/2)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52" name="TextBox 51"/>
          <p:cNvSpPr txBox="1"/>
          <p:nvPr>
            <p:custDataLst>
              <p:tags r:id="rId6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5CCC21-30FF-435B-BAE7-94C46066C3A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2560" y="1569300"/>
            <a:ext cx="8208912" cy="4626593"/>
          </a:xfrm>
          <a:prstGeom prst="rect">
            <a:avLst/>
          </a:prstGeom>
        </p:spPr>
      </p:pic>
      <p:sp>
        <p:nvSpPr>
          <p:cNvPr id="3" name="Rectangular Callout 2"/>
          <p:cNvSpPr/>
          <p:nvPr/>
        </p:nvSpPr>
        <p:spPr bwMode="auto">
          <a:xfrm>
            <a:off x="3453532" y="2348880"/>
            <a:ext cx="1355452" cy="1310082"/>
          </a:xfrm>
          <a:prstGeom prst="wedgeRectCallout">
            <a:avLst>
              <a:gd name="adj1" fmla="val -33013"/>
              <a:gd name="adj2" fmla="val 63954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ll points, except</a:t>
            </a: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for one, seem to be on the Normal Q-Q line</a:t>
            </a:r>
            <a:r>
              <a:rPr lang="en-US" sz="1200" dirty="0">
                <a:solidFill>
                  <a:schemeClr val="tx1"/>
                </a:solidFill>
                <a:latin typeface="Arial" charset="0"/>
              </a:rPr>
              <a:t> which is a good indicator of the reliability of the model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39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781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9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7416824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905328" y="1124744"/>
            <a:ext cx="1510010" cy="5285821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Lift of over 3.0 is obtained for the top decile of customer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n average 22% of customers default, so for the a decile of the testing data, (~2500 clients) we expect ~553 to default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However, on the top decile, almost all 553 do not default, so the ROC curve is over 3.0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he </a:t>
            </a:r>
            <a:r>
              <a:rPr lang="en-US" sz="1200" dirty="0" err="1"/>
              <a:t>AUC</a:t>
            </a:r>
            <a:r>
              <a:rPr lang="en-US" sz="1200" dirty="0"/>
              <a:t> curve indicates that few mistakes are made for the “best” and “worst” customers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4488" y="1124744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Stepwise logistic regress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338554"/>
          </a:xfrm>
        </p:spPr>
        <p:txBody>
          <a:bodyPr/>
          <a:lstStyle/>
          <a:p>
            <a:pPr marL="447675"/>
            <a:r>
              <a:rPr lang="en-US" dirty="0"/>
              <a:t>Output graphs for the stepwise logistic regression (2/2)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52" name="TextBox 51"/>
          <p:cNvSpPr txBox="1"/>
          <p:nvPr>
            <p:custDataLst>
              <p:tags r:id="rId7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4D4138A-4684-4753-B0DC-579B6E0830B7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3862121" y="3717032"/>
            <a:ext cx="3760234" cy="262233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193E3BA-74D8-4BC5-AA45-50D6060D03F3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441680" y="1415420"/>
            <a:ext cx="3760234" cy="262233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84648" y="1566708"/>
            <a:ext cx="1271117" cy="427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940945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97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7416824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488" y="1124744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>
                <a:solidFill>
                  <a:schemeClr val="bg1"/>
                </a:solidFill>
              </a:rPr>
              <a:t>Ctree</a:t>
            </a:r>
            <a:r>
              <a:rPr lang="en-US" sz="1200" b="1" dirty="0">
                <a:solidFill>
                  <a:schemeClr val="bg1"/>
                </a:solidFill>
              </a:rPr>
              <a:t> CAR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Output trees for the </a:t>
            </a:r>
            <a:r>
              <a:rPr lang="en-US" dirty="0" err="1"/>
              <a:t>Ctree</a:t>
            </a:r>
            <a:r>
              <a:rPr lang="en-US" dirty="0"/>
              <a:t> and </a:t>
            </a:r>
            <a:r>
              <a:rPr lang="en-US" dirty="0" err="1"/>
              <a:t>Cpart</a:t>
            </a:r>
            <a:r>
              <a:rPr lang="en-US" dirty="0"/>
              <a:t> models have different degrees of simplicity and prediction utility (1/3) 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52" name="TextBox 51"/>
          <p:cNvSpPr txBox="1"/>
          <p:nvPr>
            <p:custDataLst>
              <p:tags r:id="rId6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905328" y="1124744"/>
            <a:ext cx="1510010" cy="5285821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dirty="0"/>
              <a:t>The </a:t>
            </a:r>
            <a:r>
              <a:rPr lang="en-US" sz="1200" dirty="0" err="1"/>
              <a:t>Ctree</a:t>
            </a:r>
            <a:r>
              <a:rPr lang="en-US" sz="1200" dirty="0"/>
              <a:t> CART tree is complex, but represents the model with highest accuracy and AUC</a:t>
            </a:r>
          </a:p>
          <a:p>
            <a:pPr marL="0" indent="0">
              <a:buNone/>
            </a:pPr>
            <a:r>
              <a:rPr lang="en-US" sz="1200" dirty="0"/>
              <a:t>Tree analysis is difficult to interpret, when compared with the regression equ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EBE602-2C58-4BA4-8945-2B137ECDB8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0662" y="1988840"/>
            <a:ext cx="7046447" cy="4047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30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9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7416824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488" y="1124744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>
                <a:solidFill>
                  <a:schemeClr val="bg1"/>
                </a:solidFill>
              </a:rPr>
              <a:t>Rpart</a:t>
            </a:r>
            <a:r>
              <a:rPr lang="en-US" sz="1200" b="1" dirty="0">
                <a:solidFill>
                  <a:schemeClr val="bg1"/>
                </a:solidFill>
              </a:rPr>
              <a:t> CART with CP = 0.0025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Output trees for the different models have different degrees of simplicity and prediction utility (2/3)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52" name="TextBox 51"/>
          <p:cNvSpPr txBox="1"/>
          <p:nvPr>
            <p:custDataLst>
              <p:tags r:id="rId6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905328" y="1124744"/>
            <a:ext cx="1510010" cy="5285821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dirty="0" err="1"/>
              <a:t>Rpart</a:t>
            </a:r>
            <a:r>
              <a:rPr lang="en-US" sz="1200" dirty="0"/>
              <a:t> CART with CP = 0.0025 does not have enough detail (90% of customers fall in one bucket) so the forecasting power is lo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88E33D-D900-47C7-9A72-0B93888EB90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44688" y="2420888"/>
            <a:ext cx="3528392" cy="281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137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2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n-ea"/>
              <a:sym typeface="Arial" panose="020B0604020202020204" pitchFamily="34" charset="0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4488" y="1124744"/>
            <a:ext cx="7416824" cy="528582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488" y="1124744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 err="1">
                <a:solidFill>
                  <a:schemeClr val="bg1"/>
                </a:solidFill>
              </a:rPr>
              <a:t>Rpart</a:t>
            </a:r>
            <a:r>
              <a:rPr lang="en-US" sz="1200" b="1" dirty="0">
                <a:solidFill>
                  <a:schemeClr val="bg1"/>
                </a:solidFill>
              </a:rPr>
              <a:t> CART with CP = 0.00068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Output trees for the different models have different degrees of simplicity and prediction utility (3/3)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52" name="TextBox 51"/>
          <p:cNvSpPr txBox="1"/>
          <p:nvPr>
            <p:custDataLst>
              <p:tags r:id="rId6"/>
            </p:custDataLst>
          </p:nvPr>
        </p:nvSpPr>
        <p:spPr>
          <a:xfrm>
            <a:off x="9677847" y="952500"/>
            <a:ext cx="1524000" cy="78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pt-PT" sz="1200" b="1" dirty="0"/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905328" y="1124744"/>
            <a:ext cx="1510010" cy="5285821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dirty="0"/>
              <a:t>On the other hand, a </a:t>
            </a:r>
            <a:r>
              <a:rPr lang="en-US" sz="1200" dirty="0" err="1"/>
              <a:t>Rpart</a:t>
            </a:r>
            <a:r>
              <a:rPr lang="en-US" sz="1200" dirty="0"/>
              <a:t> CART with CP = 0.00068 has too much detail to be successfully implemen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37D189-78D0-423B-93AE-162A6045C0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9267" y="1484784"/>
            <a:ext cx="6743568" cy="469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588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046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9" name="think-cell Slide" r:id="rId11" imgW="629" imgH="631" progId="TCLayout.ActiveDocument.1">
                  <p:embed/>
                </p:oleObj>
              </mc:Choice>
              <mc:Fallback>
                <p:oleObj name="think-cell Slide" r:id="rId11" imgW="629" imgH="6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AF1EE1C-35DA-49A4-8E2F-47B384E3F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33" name="Picture 9" descr="Question 2">
            <a:extLst>
              <a:ext uri="{FF2B5EF4-FFF2-40B4-BE49-F238E27FC236}">
                <a16:creationId xmlns:a16="http://schemas.microsoft.com/office/drawing/2014/main" id="{AD1B7536-C9AD-44A8-AA17-6F4BFE1E1E25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3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questions to address</a:t>
            </a:r>
          </a:p>
        </p:txBody>
      </p:sp>
      <p:sp>
        <p:nvSpPr>
          <p:cNvPr id="18" name="Text Placeholder 2">
            <a:hlinkClick r:id="rId14" action="ppaction://hlinksldjump"/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6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Prediction of likelihood of defaul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2881313"/>
            <a:ext cx="6338888" cy="604838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2"/>
            </a:pPr>
            <a:r>
              <a:rPr lang="en-US" altLang="en-US" sz="1800" b="1" dirty="0">
                <a:solidFill>
                  <a:schemeClr val="bg1"/>
                </a:solidFill>
              </a:rPr>
              <a:t>Forecasting with a high CP parameter</a:t>
            </a:r>
          </a:p>
        </p:txBody>
      </p:sp>
      <p:sp>
        <p:nvSpPr>
          <p:cNvPr id="13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CC636FE9-69DC-4F68-89BE-49E5B3B7C6A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50" y="3486150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Selection of the best classifier</a:t>
            </a:r>
          </a:p>
        </p:txBody>
      </p:sp>
      <p:sp>
        <p:nvSpPr>
          <p:cNvPr id="57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8449" y="4090988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4"/>
            </a:pPr>
            <a:r>
              <a:rPr lang="en-US" altLang="en-US" sz="1800" dirty="0"/>
              <a:t>Feature engineering</a:t>
            </a:r>
          </a:p>
        </p:txBody>
      </p:sp>
      <p:sp>
        <p:nvSpPr>
          <p:cNvPr id="52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449" y="4695825"/>
            <a:ext cx="6338888" cy="6048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5"/>
            </a:pPr>
            <a:r>
              <a:rPr lang="en-US" altLang="en-US" sz="1800" dirty="0"/>
              <a:t>Reflection on business decisions</a:t>
            </a:r>
          </a:p>
        </p:txBody>
      </p:sp>
    </p:spTree>
    <p:extLst>
      <p:ext uri="{BB962C8B-B14F-4D97-AF65-F5344CB8AC3E}">
        <p14:creationId xmlns:p14="http://schemas.microsoft.com/office/powerpoint/2010/main" val="3027227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0624013257100024532E+00&quot;&gt;&lt;m_msothmcolidx val=&quot;0&quot;/&gt;&lt;m_rgb r=&quot;AF&quot; g=&quot;AF&quot; b=&quot;AF&quot;/&gt;&lt;m_nBrightness val=&quot;0&quot;/&gt;&lt;/elem&gt;&lt;elem m_fUsage=&quot;1.89556613910000049117E+00&quot;&gt;&lt;m_msothmcolidx val=&quot;0&quot;/&gt;&lt;m_rgb r=&quot;DA&quot; g=&quot;DA&quot; b=&quot;DA&quot;/&gt;&lt;m_nBrightness val=&quot;0&quot;/&gt;&lt;/elem&gt;&lt;elem m_fUsage=&quot;1.00973789999999996603E+00&quot;&gt;&lt;m_msothmcolidx val=&quot;0&quot;/&gt;&lt;m_rgb r=&quot;DD&quot; g=&quot;E7&quot; b=&quot;D1&quot;/&gt;&lt;m_nBrightness val=&quot;0&quot;/&gt;&lt;/elem&gt;&lt;elem m_fUsage=&quot;6.56100000000000127542E-01&quot;&gt;&lt;m_msothmcolidx val=&quot;0&quot;/&gt;&lt;m_rgb r=&quot;66&quot; g=&quot;99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PREVIOUSNAME" val="C:\Users\Ricardo Ferreira\Desktop\INSEAD 18J\P3\Data Science for Business\Assignment 2 - Credit Card Default\20180205 0140 Credit default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ZG9aP7S9WGnbWGoN4v7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aUR7fGT1CFbEeDPA98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RHCg1qRLGJKzjkAQJjR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7NusVRUOZI_L4.Woe8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DcaJHcQWKRzGzJ2v7ic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pU39TLSbqz0gMF3j5O3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9TdCiSv6V6fyDTfD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8UKfAMTMOlPma0nye9T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lQaT9R46BwtnAA5H4f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EmWx8NQZWypOfAgCEP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zCLD8WQN6gW8kqjF2v4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IRJGKyQMqiqcGL9pWC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VbQ5A2TiuyGrJ53U6f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zU83fTH.j1Qc2jXHk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ZKRg2aQbOBZ7G3Q4He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hNRQYGTjOr.QjxAY45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bSS3YQnKFR0XQA28e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XgPcroRyWoA6H5q.a8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mWwaGLQ92vn7PHlfz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wAx7PBQraLV2kO9Eo.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bFdhJ0QpSZbJFsOE0r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A0yoIxRpeX0Dr8QsTC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GjgdBcRcOkP3.qJSPj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tWWA7RNuhf8A7Bk3o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8PGOXOQeKvgviLczFs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HEMuqERry9l9d9MSFJRQ"/>
</p:tagLst>
</file>

<file path=ppt/theme/theme1.xml><?xml version="1.0" encoding="utf-8"?>
<a:theme xmlns:a="http://schemas.openxmlformats.org/drawingml/2006/main" name="1_New Insead Colour Scheme_v10">
  <a:themeElements>
    <a:clrScheme name="Custom 1">
      <a:dk1>
        <a:srgbClr val="000000"/>
      </a:dk1>
      <a:lt1>
        <a:srgbClr val="FFFFFF"/>
      </a:lt1>
      <a:dk2>
        <a:srgbClr val="008A46"/>
      </a:dk2>
      <a:lt2>
        <a:srgbClr val="E9E288"/>
      </a:lt2>
      <a:accent1>
        <a:srgbClr val="AAC48C"/>
      </a:accent1>
      <a:accent2>
        <a:srgbClr val="B39971"/>
      </a:accent2>
      <a:accent3>
        <a:srgbClr val="FFFFFF"/>
      </a:accent3>
      <a:accent4>
        <a:srgbClr val="404040"/>
      </a:accent4>
      <a:accent5>
        <a:srgbClr val="D2DEC5"/>
      </a:accent5>
      <a:accent6>
        <a:srgbClr val="A28A66"/>
      </a:accent6>
      <a:hlink>
        <a:srgbClr val="CAB8CD"/>
      </a:hlink>
      <a:folHlink>
        <a:srgbClr val="C7E5E9"/>
      </a:folHlink>
    </a:clrScheme>
    <a:fontScheme name="New Insead Colour Scheme_v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wrap="square" lIns="0" tIns="0" rIns="0" bIns="0" rtlCol="0">
        <a:spAutoFit/>
      </a:bodyPr>
      <a:lstStyle>
        <a:defPPr marL="0" indent="0" algn="l">
          <a:spcBef>
            <a:spcPts val="0"/>
          </a:spcBef>
          <a:spcAft>
            <a:spcPts val="0"/>
          </a:spcAft>
          <a:buNone/>
          <a:defRPr sz="1400" b="1" dirty="0" smtClean="0"/>
        </a:defPPr>
      </a:lstStyle>
    </a:txDef>
  </a:objectDefaults>
  <a:extraClrSchemeLst>
    <a:extraClrScheme>
      <a:clrScheme name="New Insead Colour Scheme_v10 1">
        <a:dk1>
          <a:srgbClr val="4D4D4D"/>
        </a:dk1>
        <a:lt1>
          <a:srgbClr val="FFFFFF"/>
        </a:lt1>
        <a:dk2>
          <a:srgbClr val="008A46"/>
        </a:dk2>
        <a:lt2>
          <a:srgbClr val="E9E288"/>
        </a:lt2>
        <a:accent1>
          <a:srgbClr val="AAC48C"/>
        </a:accent1>
        <a:accent2>
          <a:srgbClr val="B39971"/>
        </a:accent2>
        <a:accent3>
          <a:srgbClr val="FFFFFF"/>
        </a:accent3>
        <a:accent4>
          <a:srgbClr val="404040"/>
        </a:accent4>
        <a:accent5>
          <a:srgbClr val="D2DEC5"/>
        </a:accent5>
        <a:accent6>
          <a:srgbClr val="A28A66"/>
        </a:accent6>
        <a:hlink>
          <a:srgbClr val="CAB8CD"/>
        </a:hlink>
        <a:folHlink>
          <a:srgbClr val="C7E5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50</TotalTime>
  <Words>1299</Words>
  <Application>Microsoft Office PowerPoint</Application>
  <PresentationFormat>A4 Paper (210x297 mm)</PresentationFormat>
  <Paragraphs>28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ＭＳ Ｐゴシック</vt:lpstr>
      <vt:lpstr>Arial</vt:lpstr>
      <vt:lpstr>Rockwell</vt:lpstr>
      <vt:lpstr>Wingdings</vt:lpstr>
      <vt:lpstr>1_New Insead Colour Scheme_v10</vt:lpstr>
      <vt:lpstr>think-cell Slide</vt:lpstr>
      <vt:lpstr>Default of credit card clients Data Science for Business AA  Joana Ribeiro | Miroslav Sala | Ricardo Ferreira | Sara Ricardo | Slava Kholodov</vt:lpstr>
      <vt:lpstr>Main questions to address</vt:lpstr>
      <vt:lpstr>The several models predict that neither of the customers will default</vt:lpstr>
      <vt:lpstr>Output graphs for the stepwise logistic regression (1/2)</vt:lpstr>
      <vt:lpstr>Output graphs for the stepwise logistic regression (2/2)</vt:lpstr>
      <vt:lpstr>Output trees for the Ctree and Cpart models have different degrees of simplicity and prediction utility (1/3) </vt:lpstr>
      <vt:lpstr>Output trees for the different models have different degrees of simplicity and prediction utility (2/3)</vt:lpstr>
      <vt:lpstr>Output trees for the different models have different degrees of simplicity and prediction utility (3/3)</vt:lpstr>
      <vt:lpstr>Main questions to address</vt:lpstr>
      <vt:lpstr>A Rpart CART with CP of 0.0001 is too truncated to be useful in predicting the default probability</vt:lpstr>
      <vt:lpstr>Main questions to address</vt:lpstr>
      <vt:lpstr>We would choose cTree CART model for our business application as it yields best accuracy and AUC</vt:lpstr>
      <vt:lpstr>Main questions to address</vt:lpstr>
      <vt:lpstr>New variables where included to increase the prediction power of the models…</vt:lpstr>
      <vt:lpstr>…but the impact of the new variables did not improve the prediction power</vt:lpstr>
      <vt:lpstr>Main questions to address</vt:lpstr>
      <vt:lpstr>The flow of the Ctree CART model gives relevant information for the best and worst customer segments</vt:lpstr>
    </vt:vector>
  </TitlesOfParts>
  <Company>INSEA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a brand</dc:title>
  <dc:creator>MONTELLY</dc:creator>
  <cp:lastModifiedBy>Ricardo Ferreira</cp:lastModifiedBy>
  <cp:revision>605</cp:revision>
  <cp:lastPrinted>2009-10-13T10:30:25Z</cp:lastPrinted>
  <dcterms:created xsi:type="dcterms:W3CDTF">2009-07-22T09:08:48Z</dcterms:created>
  <dcterms:modified xsi:type="dcterms:W3CDTF">2018-02-05T17:52:28Z</dcterms:modified>
</cp:coreProperties>
</file>